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notesSlides/notesSlide1.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notesSlides/notesSlide2.xml" ContentType="application/vnd.openxmlformats-officedocument.presentationml.notesSlide+xml"/>
  <Override PartName="/ppt/charts/chart5.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6.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tags/tag29.xml" ContentType="application/vnd.openxmlformats-officedocument.presentationml.tags+xml"/>
  <Override PartName="/ppt/notesSlides/notesSlide3.xml" ContentType="application/vnd.openxmlformats-officedocument.presentationml.notesSlide+xml"/>
  <Override PartName="/ppt/charts/chart7.xml" ContentType="application/vnd.openxmlformats-officedocument.drawingml.chart+xml"/>
  <Override PartName="/ppt/charts/style3.xml" ContentType="application/vnd.ms-office.chartstyle+xml"/>
  <Override PartName="/ppt/charts/colors3.xml" ContentType="application/vnd.ms-office.chartcolorstyle+xml"/>
  <Override PartName="/ppt/charts/chart8.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4.xml" ContentType="application/vnd.openxmlformats-officedocument.presentationml.notesSlide+xml"/>
  <Override PartName="/ppt/charts/chart9.xml" ContentType="application/vnd.openxmlformats-officedocument.drawingml.chart+xml"/>
  <Override PartName="/ppt/theme/themeOverride3.xml" ContentType="application/vnd.openxmlformats-officedocument.themeOverride+xml"/>
  <Override PartName="/ppt/charts/chart10.xml" ContentType="application/vnd.openxmlformats-officedocument.drawingml.chart+xml"/>
  <Override PartName="/ppt/theme/themeOverride4.xml" ContentType="application/vnd.openxmlformats-officedocument.themeOverride+xml"/>
  <Override PartName="/ppt/charts/chart11.xml" ContentType="application/vnd.openxmlformats-officedocument.drawingml.chart+xml"/>
  <Override PartName="/ppt/theme/themeOverride5.xml" ContentType="application/vnd.openxmlformats-officedocument.themeOverride+xml"/>
  <Override PartName="/ppt/charts/chart12.xml" ContentType="application/vnd.openxmlformats-officedocument.drawingml.chart+xml"/>
  <Override PartName="/ppt/theme/themeOverride6.xml" ContentType="application/vnd.openxmlformats-officedocument.themeOverride+xml"/>
  <Override PartName="/ppt/charts/chart13.xml" ContentType="application/vnd.openxmlformats-officedocument.drawingml.chart+xml"/>
  <Override PartName="/ppt/theme/themeOverride7.xml" ContentType="application/vnd.openxmlformats-officedocument.themeOverride+xml"/>
  <Override PartName="/ppt/notesSlides/notesSlide5.xml" ContentType="application/vnd.openxmlformats-officedocument.presentationml.notesSlide+xml"/>
  <Override PartName="/ppt/charts/chart14.xml" ContentType="application/vnd.openxmlformats-officedocument.drawingml.chart+xml"/>
  <Override PartName="/ppt/theme/themeOverride8.xml" ContentType="application/vnd.openxmlformats-officedocument.themeOverride+xml"/>
  <Override PartName="/ppt/notesSlides/notesSlide6.xml" ContentType="application/vnd.openxmlformats-officedocument.presentationml.notesSlide+xml"/>
  <Override PartName="/ppt/charts/chart15.xml" ContentType="application/vnd.openxmlformats-officedocument.drawingml.chart+xml"/>
  <Override PartName="/ppt/theme/themeOverride9.xml" ContentType="application/vnd.openxmlformats-officedocument.themeOverride+xml"/>
  <Override PartName="/ppt/charts/chart16.xml" ContentType="application/vnd.openxmlformats-officedocument.drawingml.chart+xml"/>
  <Override PartName="/ppt/theme/themeOverride10.xml" ContentType="application/vnd.openxmlformats-officedocument.themeOverride+xml"/>
  <Override PartName="/ppt/notesSlides/notesSlide7.xml" ContentType="application/vnd.openxmlformats-officedocument.presentationml.notesSlide+xml"/>
  <Override PartName="/ppt/charts/chart17.xml" ContentType="application/vnd.openxmlformats-officedocument.drawingml.chart+xml"/>
  <Override PartName="/ppt/theme/themeOverride11.xml" ContentType="application/vnd.openxmlformats-officedocument.themeOverride+xml"/>
  <Override PartName="/ppt/charts/chart18.xml" ContentType="application/vnd.openxmlformats-officedocument.drawingml.chart+xml"/>
  <Override PartName="/ppt/theme/themeOverride12.xml" ContentType="application/vnd.openxmlformats-officedocument.themeOverride+xml"/>
  <Override PartName="/ppt/charts/chart19.xml" ContentType="application/vnd.openxmlformats-officedocument.drawingml.chart+xml"/>
  <Override PartName="/ppt/theme/themeOverride13.xml" ContentType="application/vnd.openxmlformats-officedocument.themeOverride+xml"/>
  <Override PartName="/ppt/charts/chart20.xml" ContentType="application/vnd.openxmlformats-officedocument.drawingml.chart+xml"/>
  <Override PartName="/ppt/notesSlides/notesSlide8.xml" ContentType="application/vnd.openxmlformats-officedocument.presentationml.notesSlide+xml"/>
  <Override PartName="/ppt/charts/chart21.xml" ContentType="application/vnd.openxmlformats-officedocument.drawingml.chart+xml"/>
  <Override PartName="/ppt/charts/style5.xml" ContentType="application/vnd.ms-office.chartstyle+xml"/>
  <Override PartName="/ppt/charts/colors5.xml" ContentType="application/vnd.ms-office.chartcolorstyle+xml"/>
  <Override PartName="/ppt/charts/chart22.xml" ContentType="application/vnd.openxmlformats-officedocument.drawingml.chart+xml"/>
  <Override PartName="/ppt/charts/style6.xml" ContentType="application/vnd.ms-office.chartstyle+xml"/>
  <Override PartName="/ppt/charts/colors6.xml" ContentType="application/vnd.ms-office.chartcolorstyle+xml"/>
  <Override PartName="/ppt/tags/tag30.xml" ContentType="application/vnd.openxmlformats-officedocument.presentationml.tags+xml"/>
  <Override PartName="/ppt/notesSlides/notesSlide9.xml" ContentType="application/vnd.openxmlformats-officedocument.presentationml.notesSlide+xml"/>
  <Override PartName="/ppt/charts/chart23.xml" ContentType="application/vnd.openxmlformats-officedocument.drawingml.chart+xml"/>
  <Override PartName="/ppt/charts/style7.xml" ContentType="application/vnd.ms-office.chartstyle+xml"/>
  <Override PartName="/ppt/charts/colors7.xml" ContentType="application/vnd.ms-office.chartcolorstyle+xml"/>
  <Override PartName="/ppt/tags/tag31.xml" ContentType="application/vnd.openxmlformats-officedocument.presentationml.tags+xml"/>
  <Override PartName="/ppt/notesSlides/notesSlide10.xml" ContentType="application/vnd.openxmlformats-officedocument.presentationml.notesSlide+xml"/>
  <Override PartName="/ppt/charts/chart24.xml" ContentType="application/vnd.openxmlformats-officedocument.drawingml.chart+xml"/>
  <Override PartName="/ppt/theme/themeOverride14.xml" ContentType="application/vnd.openxmlformats-officedocument.themeOverride+xml"/>
  <Override PartName="/ppt/charts/chart25.xml" ContentType="application/vnd.openxmlformats-officedocument.drawingml.chart+xml"/>
  <Override PartName="/ppt/theme/themeOverride15.xml" ContentType="application/vnd.openxmlformats-officedocument.themeOverride+xml"/>
  <Override PartName="/ppt/tags/tag32.xml" ContentType="application/vnd.openxmlformats-officedocument.presentationml.tags+xml"/>
  <Override PartName="/ppt/notesSlides/notesSlide11.xml" ContentType="application/vnd.openxmlformats-officedocument.presentationml.notesSlide+xml"/>
  <Override PartName="/ppt/charts/chart26.xml" ContentType="application/vnd.openxmlformats-officedocument.drawingml.chart+xml"/>
  <Override PartName="/ppt/theme/themeOverride16.xml" ContentType="application/vnd.openxmlformats-officedocument.themeOverride+xml"/>
  <Override PartName="/ppt/charts/chart27.xml" ContentType="application/vnd.openxmlformats-officedocument.drawingml.chart+xml"/>
  <Override PartName="/ppt/theme/themeOverride17.xml" ContentType="application/vnd.openxmlformats-officedocument.themeOverride+xml"/>
  <Override PartName="/ppt/charts/chart28.xml" ContentType="application/vnd.openxmlformats-officedocument.drawingml.chart+xml"/>
  <Override PartName="/ppt/theme/themeOverride18.xml" ContentType="application/vnd.openxmlformats-officedocument.themeOverride+xml"/>
  <Override PartName="/ppt/charts/chart29.xml" ContentType="application/vnd.openxmlformats-officedocument.drawingml.chart+xml"/>
  <Override PartName="/ppt/theme/themeOverride19.xml" ContentType="application/vnd.openxmlformats-officedocument.themeOverride+xml"/>
  <Override PartName="/ppt/charts/chart30.xml" ContentType="application/vnd.openxmlformats-officedocument.drawingml.chart+xml"/>
  <Override PartName="/ppt/charts/style8.xml" ContentType="application/vnd.ms-office.chartstyle+xml"/>
  <Override PartName="/ppt/charts/colors8.xml" ContentType="application/vnd.ms-office.chartcolorstyle+xml"/>
  <Override PartName="/ppt/charts/chart31.xml" ContentType="application/vnd.openxmlformats-officedocument.drawingml.chart+xml"/>
  <Override PartName="/ppt/charts/style9.xml" ContentType="application/vnd.ms-office.chartstyle+xml"/>
  <Override PartName="/ppt/charts/colors9.xml" ContentType="application/vnd.ms-office.chartcolorstyle+xml"/>
  <Override PartName="/ppt/tags/tag33.xml" ContentType="application/vnd.openxmlformats-officedocument.presentationml.tags+xml"/>
  <Override PartName="/ppt/notesSlides/notesSlide12.xml" ContentType="application/vnd.openxmlformats-officedocument.presentationml.notesSlide+xml"/>
  <Override PartName="/ppt/charts/chart32.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13.xml" ContentType="application/vnd.openxmlformats-officedocument.presentationml.notesSlide+xml"/>
  <Override PartName="/ppt/charts/chartEx1.xml" ContentType="application/vnd.ms-office.chartex+xml"/>
  <Override PartName="/ppt/charts/style11.xml" ContentType="application/vnd.ms-office.chartstyle+xml"/>
  <Override PartName="/ppt/charts/colors11.xml" ContentType="application/vnd.ms-office.chartcolorstyle+xml"/>
  <Override PartName="/ppt/charts/chartEx2.xml" ContentType="application/vnd.ms-office.chartex+xml"/>
  <Override PartName="/ppt/charts/style12.xml" ContentType="application/vnd.ms-office.chartstyle+xml"/>
  <Override PartName="/ppt/charts/colors12.xml" ContentType="application/vnd.ms-office.chartcolorstyle+xml"/>
  <Override PartName="/ppt/charts/chartEx3.xml" ContentType="application/vnd.ms-office.chartex+xml"/>
  <Override PartName="/ppt/charts/style13.xml" ContentType="application/vnd.ms-office.chartstyle+xml"/>
  <Override PartName="/ppt/charts/colors13.xml" ContentType="application/vnd.ms-office.chartcolorstyle+xml"/>
  <Override PartName="/ppt/charts/chartEx4.xml" ContentType="application/vnd.ms-office.chartex+xml"/>
  <Override PartName="/ppt/charts/style14.xml" ContentType="application/vnd.ms-office.chartstyle+xml"/>
  <Override PartName="/ppt/charts/colors14.xml" ContentType="application/vnd.ms-office.chartcolorstyle+xml"/>
  <Override PartName="/ppt/tags/tag34.xml" ContentType="application/vnd.openxmlformats-officedocument.presentationml.tags+xml"/>
  <Override PartName="/ppt/notesSlides/notesSlide14.xml" ContentType="application/vnd.openxmlformats-officedocument.presentationml.notesSlide+xml"/>
  <Override PartName="/ppt/charts/chart33.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34.xml" ContentType="application/vnd.openxmlformats-officedocument.drawingml.chart+xml"/>
  <Override PartName="/ppt/charts/style16.xml" ContentType="application/vnd.ms-office.chartstyle+xml"/>
  <Override PartName="/ppt/charts/colors16.xml" ContentType="application/vnd.ms-office.chartcolorstyl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2" r:id="rId4"/>
  </p:sldMasterIdLst>
  <p:notesMasterIdLst>
    <p:notesMasterId r:id="rId22"/>
  </p:notesMasterIdLst>
  <p:sldIdLst>
    <p:sldId id="2147473859" r:id="rId5"/>
    <p:sldId id="2147473866" r:id="rId6"/>
    <p:sldId id="2147473865" r:id="rId7"/>
    <p:sldId id="2147475169" r:id="rId8"/>
    <p:sldId id="2147473863" r:id="rId9"/>
    <p:sldId id="2147473891" r:id="rId10"/>
    <p:sldId id="2147473696" r:id="rId11"/>
    <p:sldId id="2147471730" r:id="rId12"/>
    <p:sldId id="2147473858" r:id="rId13"/>
    <p:sldId id="2147473837" r:id="rId14"/>
    <p:sldId id="2147473890" r:id="rId15"/>
    <p:sldId id="2147475165" r:id="rId16"/>
    <p:sldId id="2147475163" r:id="rId17"/>
    <p:sldId id="2147473803" r:id="rId18"/>
    <p:sldId id="2147475167" r:id="rId19"/>
    <p:sldId id="262" r:id="rId20"/>
    <p:sldId id="2147475168" r:id="rId21"/>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guide id="3" orient="horz" pos="940" userDrawn="1">
          <p15:clr>
            <a:srgbClr val="5ACBF0"/>
          </p15:clr>
        </p15:guide>
        <p15:guide id="4" orient="horz" pos="1212" userDrawn="1">
          <p15:clr>
            <a:srgbClr val="F26B43"/>
          </p15:clr>
        </p15:guide>
        <p15:guide id="5" orient="horz" pos="1121" userDrawn="1">
          <p15:clr>
            <a:srgbClr val="5ACBF0"/>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219F46E-3B23-D09F-47AD-C779851D2CA1}" name="Sophie  ZIMMERMANN" initials="SZ" userId="S::zimmermann.s@pricing.one::a3ccab47-c860-43ce-9c7d-ef7907b0df29" providerId="AD"/>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75555"/>
    <a:srgbClr val="AEABAB"/>
    <a:srgbClr val="9B9898"/>
    <a:srgbClr val="FFB5B5"/>
    <a:srgbClr val="00A097"/>
    <a:srgbClr val="FF8080"/>
    <a:srgbClr val="B2DFDC"/>
    <a:srgbClr val="BCBBBB"/>
    <a:srgbClr val="E6E5E5"/>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99" autoAdjust="0"/>
    <p:restoredTop sz="94660"/>
  </p:normalViewPr>
  <p:slideViewPr>
    <p:cSldViewPr snapToGrid="0">
      <p:cViewPr varScale="1">
        <p:scale>
          <a:sx n="103" d="100"/>
          <a:sy n="103" d="100"/>
        </p:scale>
        <p:origin x="259" y="77"/>
      </p:cViewPr>
      <p:guideLst>
        <p:guide orient="horz" pos="1620"/>
        <p:guide pos="2880"/>
        <p:guide orient="horz" pos="940"/>
        <p:guide orient="horz" pos="1212"/>
        <p:guide orient="horz" pos="112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2" Type="http://schemas.openxmlformats.org/officeDocument/2006/relationships/package" Target="../embeddings/Microsoft_Excel_Worksheet9.xlsx"/><Relationship Id="rId1" Type="http://schemas.openxmlformats.org/officeDocument/2006/relationships/themeOverride" Target="../theme/themeOverride4.xml"/></Relationships>
</file>

<file path=ppt/charts/_rels/chart11.xml.rels><?xml version="1.0" encoding="UTF-8" standalone="yes"?>
<Relationships xmlns="http://schemas.openxmlformats.org/package/2006/relationships"><Relationship Id="rId2" Type="http://schemas.openxmlformats.org/officeDocument/2006/relationships/package" Target="../embeddings/Microsoft_Excel_Worksheet10.xlsx"/><Relationship Id="rId1" Type="http://schemas.openxmlformats.org/officeDocument/2006/relationships/themeOverride" Target="../theme/themeOverride5.xml"/></Relationships>
</file>

<file path=ppt/charts/_rels/chart12.xml.rels><?xml version="1.0" encoding="UTF-8" standalone="yes"?>
<Relationships xmlns="http://schemas.openxmlformats.org/package/2006/relationships"><Relationship Id="rId2" Type="http://schemas.openxmlformats.org/officeDocument/2006/relationships/package" Target="../embeddings/Microsoft_Excel_Worksheet11.xlsx"/><Relationship Id="rId1" Type="http://schemas.openxmlformats.org/officeDocument/2006/relationships/themeOverride" Target="../theme/themeOverride6.xml"/></Relationships>
</file>

<file path=ppt/charts/_rels/chart13.xml.rels><?xml version="1.0" encoding="UTF-8" standalone="yes"?>
<Relationships xmlns="http://schemas.openxmlformats.org/package/2006/relationships"><Relationship Id="rId2" Type="http://schemas.openxmlformats.org/officeDocument/2006/relationships/package" Target="../embeddings/Microsoft_Excel_Worksheet12.xlsx"/><Relationship Id="rId1" Type="http://schemas.openxmlformats.org/officeDocument/2006/relationships/themeOverride" Target="../theme/themeOverride7.xml"/></Relationships>
</file>

<file path=ppt/charts/_rels/chart14.xml.rels><?xml version="1.0" encoding="UTF-8" standalone="yes"?>
<Relationships xmlns="http://schemas.openxmlformats.org/package/2006/relationships"><Relationship Id="rId2" Type="http://schemas.openxmlformats.org/officeDocument/2006/relationships/package" Target="../embeddings/Microsoft_Excel_Worksheet13.xlsx"/><Relationship Id="rId1" Type="http://schemas.openxmlformats.org/officeDocument/2006/relationships/themeOverride" Target="../theme/themeOverride8.xml"/></Relationships>
</file>

<file path=ppt/charts/_rels/chart15.xml.rels><?xml version="1.0" encoding="UTF-8" standalone="yes"?>
<Relationships xmlns="http://schemas.openxmlformats.org/package/2006/relationships"><Relationship Id="rId2" Type="http://schemas.openxmlformats.org/officeDocument/2006/relationships/package" Target="../embeddings/Microsoft_Excel_Worksheet14.xlsx"/><Relationship Id="rId1" Type="http://schemas.openxmlformats.org/officeDocument/2006/relationships/themeOverride" Target="../theme/themeOverride9.xml"/></Relationships>
</file>

<file path=ppt/charts/_rels/chart16.xml.rels><?xml version="1.0" encoding="UTF-8" standalone="yes"?>
<Relationships xmlns="http://schemas.openxmlformats.org/package/2006/relationships"><Relationship Id="rId2" Type="http://schemas.openxmlformats.org/officeDocument/2006/relationships/package" Target="../embeddings/Microsoft_Excel_Worksheet15.xlsx"/><Relationship Id="rId1" Type="http://schemas.openxmlformats.org/officeDocument/2006/relationships/themeOverride" Target="../theme/themeOverride10.xml"/></Relationships>
</file>

<file path=ppt/charts/_rels/chart17.xml.rels><?xml version="1.0" encoding="UTF-8" standalone="yes"?>
<Relationships xmlns="http://schemas.openxmlformats.org/package/2006/relationships"><Relationship Id="rId2" Type="http://schemas.openxmlformats.org/officeDocument/2006/relationships/package" Target="../embeddings/Microsoft_Excel_Worksheet16.xlsx"/><Relationship Id="rId1" Type="http://schemas.openxmlformats.org/officeDocument/2006/relationships/themeOverride" Target="../theme/themeOverride11.xml"/></Relationships>
</file>

<file path=ppt/charts/_rels/chart18.xml.rels><?xml version="1.0" encoding="UTF-8" standalone="yes"?>
<Relationships xmlns="http://schemas.openxmlformats.org/package/2006/relationships"><Relationship Id="rId2" Type="http://schemas.openxmlformats.org/officeDocument/2006/relationships/package" Target="../embeddings/Microsoft_Excel_Worksheet17.xlsx"/><Relationship Id="rId1" Type="http://schemas.openxmlformats.org/officeDocument/2006/relationships/themeOverride" Target="../theme/themeOverride12.xml"/></Relationships>
</file>

<file path=ppt/charts/_rels/chart19.xml.rels><?xml version="1.0" encoding="UTF-8" standalone="yes"?>
<Relationships xmlns="http://schemas.openxmlformats.org/package/2006/relationships"><Relationship Id="rId2" Type="http://schemas.openxmlformats.org/officeDocument/2006/relationships/package" Target="../embeddings/Microsoft_Excel_Worksheet18.xlsx"/><Relationship Id="rId1" Type="http://schemas.openxmlformats.org/officeDocument/2006/relationships/themeOverride" Target="../theme/themeOverride13.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5.xml"/><Relationship Id="rId1" Type="http://schemas.microsoft.com/office/2011/relationships/chartStyle" Target="style5.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6.xml"/><Relationship Id="rId1" Type="http://schemas.microsoft.com/office/2011/relationships/chartStyle" Target="style6.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7.xml"/><Relationship Id="rId1" Type="http://schemas.microsoft.com/office/2011/relationships/chartStyle" Target="style7.xml"/></Relationships>
</file>

<file path=ppt/charts/_rels/chart24.xml.rels><?xml version="1.0" encoding="UTF-8" standalone="yes"?>
<Relationships xmlns="http://schemas.openxmlformats.org/package/2006/relationships"><Relationship Id="rId2" Type="http://schemas.openxmlformats.org/officeDocument/2006/relationships/package" Target="../embeddings/Microsoft_Excel_Worksheet23.xlsx"/><Relationship Id="rId1" Type="http://schemas.openxmlformats.org/officeDocument/2006/relationships/themeOverride" Target="../theme/themeOverride14.xml"/></Relationships>
</file>

<file path=ppt/charts/_rels/chart25.xml.rels><?xml version="1.0" encoding="UTF-8" standalone="yes"?>
<Relationships xmlns="http://schemas.openxmlformats.org/package/2006/relationships"><Relationship Id="rId2" Type="http://schemas.openxmlformats.org/officeDocument/2006/relationships/package" Target="../embeddings/Microsoft_Excel_Worksheet24.xlsx"/><Relationship Id="rId1" Type="http://schemas.openxmlformats.org/officeDocument/2006/relationships/themeOverride" Target="../theme/themeOverride15.xml"/></Relationships>
</file>

<file path=ppt/charts/_rels/chart26.xml.rels><?xml version="1.0" encoding="UTF-8" standalone="yes"?>
<Relationships xmlns="http://schemas.openxmlformats.org/package/2006/relationships"><Relationship Id="rId2" Type="http://schemas.openxmlformats.org/officeDocument/2006/relationships/package" Target="../embeddings/Microsoft_Excel_Worksheet25.xlsx"/><Relationship Id="rId1" Type="http://schemas.openxmlformats.org/officeDocument/2006/relationships/themeOverride" Target="../theme/themeOverride16.xml"/></Relationships>
</file>

<file path=ppt/charts/_rels/chart27.xml.rels><?xml version="1.0" encoding="UTF-8" standalone="yes"?>
<Relationships xmlns="http://schemas.openxmlformats.org/package/2006/relationships"><Relationship Id="rId2" Type="http://schemas.openxmlformats.org/officeDocument/2006/relationships/package" Target="../embeddings/Microsoft_Excel_Worksheet26.xlsx"/><Relationship Id="rId1" Type="http://schemas.openxmlformats.org/officeDocument/2006/relationships/themeOverride" Target="../theme/themeOverride17.xml"/></Relationships>
</file>

<file path=ppt/charts/_rels/chart28.xml.rels><?xml version="1.0" encoding="UTF-8" standalone="yes"?>
<Relationships xmlns="http://schemas.openxmlformats.org/package/2006/relationships"><Relationship Id="rId2" Type="http://schemas.openxmlformats.org/officeDocument/2006/relationships/package" Target="../embeddings/Microsoft_Excel_Worksheet27.xlsx"/><Relationship Id="rId1" Type="http://schemas.openxmlformats.org/officeDocument/2006/relationships/themeOverride" Target="../theme/themeOverride18.xml"/></Relationships>
</file>

<file path=ppt/charts/_rels/chart29.xml.rels><?xml version="1.0" encoding="UTF-8" standalone="yes"?>
<Relationships xmlns="http://schemas.openxmlformats.org/package/2006/relationships"><Relationship Id="rId2" Type="http://schemas.openxmlformats.org/officeDocument/2006/relationships/package" Target="../embeddings/Microsoft_Excel_Worksheet28.xlsx"/><Relationship Id="rId1" Type="http://schemas.openxmlformats.org/officeDocument/2006/relationships/themeOverride" Target="../theme/themeOverride19.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8.xml"/><Relationship Id="rId1" Type="http://schemas.microsoft.com/office/2011/relationships/chartStyle" Target="style8.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9.xml"/><Relationship Id="rId1" Type="http://schemas.microsoft.com/office/2011/relationships/chartStyle" Target="style9.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10.xml"/><Relationship Id="rId1" Type="http://schemas.microsoft.com/office/2011/relationships/chartStyle" Target="style10.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15.xml"/><Relationship Id="rId1" Type="http://schemas.microsoft.com/office/2011/relationships/chartStyle" Target="style15.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16.xml"/><Relationship Id="rId1" Type="http://schemas.microsoft.com/office/2011/relationships/chartStyle" Target="style16.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3.xml"/><Relationship Id="rId1" Type="http://schemas.microsoft.com/office/2011/relationships/chartStyle" Target="style3.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4.xml"/><Relationship Id="rId1" Type="http://schemas.microsoft.com/office/2011/relationships/chartStyle" Target="style4.xml"/></Relationships>
</file>

<file path=ppt/charts/_rels/chart9.xml.rels><?xml version="1.0" encoding="UTF-8" standalone="yes"?>
<Relationships xmlns="http://schemas.openxmlformats.org/package/2006/relationships"><Relationship Id="rId2" Type="http://schemas.openxmlformats.org/officeDocument/2006/relationships/package" Target="../embeddings/Microsoft_Excel_Worksheet8.xlsx"/><Relationship Id="rId1" Type="http://schemas.openxmlformats.org/officeDocument/2006/relationships/themeOverride" Target="../theme/themeOverride3.xml"/></Relationships>
</file>

<file path=ppt/charts/_rels/chartEx1.xml.rels><?xml version="1.0" encoding="UTF-8" standalone="yes"?>
<Relationships xmlns="http://schemas.openxmlformats.org/package/2006/relationships"><Relationship Id="rId3" Type="http://schemas.microsoft.com/office/2011/relationships/chartColorStyle" Target="colors11.xml"/><Relationship Id="rId2" Type="http://schemas.microsoft.com/office/2011/relationships/chartStyle" Target="style11.xml"/><Relationship Id="rId1" Type="http://schemas.openxmlformats.org/officeDocument/2006/relationships/package" Target="../embeddings/Microsoft_Excel_Worksheet32.xlsx"/></Relationships>
</file>

<file path=ppt/charts/_rels/chartEx2.xml.rels><?xml version="1.0" encoding="UTF-8" standalone="yes"?>
<Relationships xmlns="http://schemas.openxmlformats.org/package/2006/relationships"><Relationship Id="rId3" Type="http://schemas.microsoft.com/office/2011/relationships/chartColorStyle" Target="colors12.xml"/><Relationship Id="rId2" Type="http://schemas.microsoft.com/office/2011/relationships/chartStyle" Target="style12.xml"/><Relationship Id="rId1" Type="http://schemas.openxmlformats.org/officeDocument/2006/relationships/package" Target="../embeddings/Microsoft_Excel_Worksheet33.xlsx"/></Relationships>
</file>

<file path=ppt/charts/_rels/chartEx3.xml.rels><?xml version="1.0" encoding="UTF-8" standalone="yes"?>
<Relationships xmlns="http://schemas.openxmlformats.org/package/2006/relationships"><Relationship Id="rId3" Type="http://schemas.microsoft.com/office/2011/relationships/chartColorStyle" Target="colors13.xml"/><Relationship Id="rId2" Type="http://schemas.microsoft.com/office/2011/relationships/chartStyle" Target="style13.xml"/><Relationship Id="rId1" Type="http://schemas.openxmlformats.org/officeDocument/2006/relationships/package" Target="../embeddings/Microsoft_Excel_Worksheet34.xlsx"/></Relationships>
</file>

<file path=ppt/charts/_rels/chartEx4.xml.rels><?xml version="1.0" encoding="UTF-8" standalone="yes"?>
<Relationships xmlns="http://schemas.openxmlformats.org/package/2006/relationships"><Relationship Id="rId3" Type="http://schemas.microsoft.com/office/2011/relationships/chartColorStyle" Target="colors14.xml"/><Relationship Id="rId2" Type="http://schemas.microsoft.com/office/2011/relationships/chartStyle" Target="style14.xml"/><Relationship Id="rId1" Type="http://schemas.openxmlformats.org/officeDocument/2006/relationships/package" Target="../embeddings/Microsoft_Excel_Worksheet35.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dLbl>
              <c:idx val="0"/>
              <c:layout>
                <c:manualLayout>
                  <c:x val="0"/>
                  <c:y val="6.7130820790572542E-3"/>
                </c:manualLayout>
              </c:layout>
              <c:tx>
                <c:rich>
                  <a:bodyPr/>
                  <a:lstStyle/>
                  <a:p>
                    <a:fld id="{53C7F705-C4B3-4936-8411-726B38CA528D}"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20036.350999999999</c:v>
                </c:pt>
                <c:pt idx="1">
                  <c:v>20481.856</c:v>
                </c:pt>
                <c:pt idx="2">
                  <c:v>20411.41400000000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dLbl>
              <c:idx val="1"/>
              <c:tx>
                <c:rich>
                  <a:bodyPr/>
                  <a:lstStyle/>
                  <a:p>
                    <a:fld id="{8A98A44C-21A7-4757-9578-BC44FEB63E7A}"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0357-4676-8ACA-D131CC8016C3}"/>
                </c:ext>
              </c:extLst>
            </c:dLbl>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15526.465</c:v>
                </c:pt>
                <c:pt idx="1">
                  <c:v>16990.962</c:v>
                </c:pt>
                <c:pt idx="2">
                  <c:v>16887.391</c:v>
                </c:pt>
              </c:numCache>
            </c:numRef>
          </c:val>
          <c:extLst>
            <c:ext xmlns:c16="http://schemas.microsoft.com/office/drawing/2014/chart" uri="{C3380CC4-5D6E-409C-BE32-E72D297353CC}">
              <c16:uniqueId val="{00000001-684A-418E-960D-F285AA891C5B}"/>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1134.692999999999</c:v>
                </c:pt>
                <c:pt idx="1">
                  <c:v>26845.127</c:v>
                </c:pt>
                <c:pt idx="2">
                  <c:v>25699.18</c:v>
                </c:pt>
              </c:numCache>
            </c:numRef>
          </c:val>
          <c:extLst>
            <c:ext xmlns:c16="http://schemas.microsoft.com/office/drawing/2014/chart" uri="{C3380CC4-5D6E-409C-BE32-E72D297353CC}">
              <c16:uniqueId val="{00000002-684A-418E-960D-F285AA891C5B}"/>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25469.062000000002</c:v>
                </c:pt>
                <c:pt idx="1">
                  <c:v>26419.298999999999</c:v>
                </c:pt>
                <c:pt idx="2">
                  <c:v>27476.826000000001</c:v>
                </c:pt>
              </c:numCache>
            </c:numRef>
          </c:val>
          <c:extLst>
            <c:ext xmlns:c16="http://schemas.microsoft.com/office/drawing/2014/chart" uri="{C3380CC4-5D6E-409C-BE32-E72D297353CC}">
              <c16:uniqueId val="{00000003-684A-418E-960D-F285AA891C5B}"/>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536.7330000000002</c:v>
                </c:pt>
                <c:pt idx="1">
                  <c:v>5903.4359999999997</c:v>
                </c:pt>
                <c:pt idx="2">
                  <c:v>7191.9579999999996</c:v>
                </c:pt>
              </c:numCache>
            </c:numRef>
          </c:val>
          <c:extLst>
            <c:ext xmlns:c16="http://schemas.microsoft.com/office/drawing/2014/chart" uri="{C3380CC4-5D6E-409C-BE32-E72D297353CC}">
              <c16:uniqueId val="{00000000-6E13-46AF-8F51-9EF69649C37C}"/>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Value Share LY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19251517246125641</c:v>
                </c:pt>
                <c:pt idx="1">
                  <c:v>2.2076130543610818E-3</c:v>
                </c:pt>
                <c:pt idx="2">
                  <c:v>-7.9444911325608394E-2</c:v>
                </c:pt>
                <c:pt idx="3">
                  <c:v>-1.6362030277953299E-2</c:v>
                </c:pt>
                <c:pt idx="4">
                  <c:v>-2.050157548004742E-2</c:v>
                </c:pt>
                <c:pt idx="5">
                  <c:v>-3.3472709049699748E-2</c:v>
                </c:pt>
                <c:pt idx="6">
                  <c:v>-2.3496447624957891E-2</c:v>
                </c:pt>
                <c:pt idx="7">
                  <c:v>2.7301951244537551E-2</c:v>
                </c:pt>
                <c:pt idx="8">
                  <c:v>4.8792756883615403E-3</c:v>
                </c:pt>
                <c:pt idx="9">
                  <c:v>5.1764789981247998E-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Value 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4.3963721999999997E-2</c:v>
                </c:pt>
                <c:pt idx="1">
                  <c:v>-1.3505148E-2</c:v>
                </c:pt>
                <c:pt idx="2">
                  <c:v>-1.1798739000000001E-2</c:v>
                </c:pt>
                <c:pt idx="3">
                  <c:v>5.7473710000000003E-3</c:v>
                </c:pt>
                <c:pt idx="4">
                  <c:v>-4.0835259999999996E-3</c:v>
                </c:pt>
                <c:pt idx="5">
                  <c:v>-4.8005999999999998E-4</c:v>
                </c:pt>
                <c:pt idx="6">
                  <c:v>-3.6926800000000002E-4</c:v>
                </c:pt>
                <c:pt idx="7">
                  <c:v>7.4368990000000003E-3</c:v>
                </c:pt>
                <c:pt idx="8">
                  <c:v>-4.1499370000000002E-3</c:v>
                </c:pt>
                <c:pt idx="9">
                  <c:v>-9.0259300000000004E-4</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Value 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4.3963789000000003E-2</c:v>
                </c:pt>
                <c:pt idx="1">
                  <c:v>-1.3505148E-2</c:v>
                </c:pt>
                <c:pt idx="2">
                  <c:v>-1.1798739000000001E-2</c:v>
                </c:pt>
                <c:pt idx="3">
                  <c:v>-3.5863319999999998E-3</c:v>
                </c:pt>
                <c:pt idx="4">
                  <c:v>-4.79624E-4</c:v>
                </c:pt>
                <c:pt idx="5">
                  <c:v>-2.1501239999999998E-3</c:v>
                </c:pt>
                <c:pt idx="6">
                  <c:v>-9.0259300000000004E-4</c:v>
                </c:pt>
                <c:pt idx="7">
                  <c:v>1.0105470000000001E-3</c:v>
                </c:pt>
                <c:pt idx="8">
                  <c:v>-3.3302199999999998E-4</c:v>
                </c:pt>
                <c:pt idx="9">
                  <c:v>1.5689061000000001E-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Eigenmarke</c:v>
                </c:pt>
                <c:pt idx="1">
                  <c:v>Gerolsteiner</c:v>
                </c:pt>
                <c:pt idx="2">
                  <c:v>Adelholzener</c:v>
                </c:pt>
                <c:pt idx="3">
                  <c:v>Vilsa</c:v>
                </c:pt>
                <c:pt idx="4">
                  <c:v>San Pellegrino</c:v>
                </c:pt>
                <c:pt idx="5">
                  <c:v>Rhoen Sprudel</c:v>
                </c:pt>
                <c:pt idx="6">
                  <c:v>Ensinger</c:v>
                </c:pt>
                <c:pt idx="7">
                  <c:v>Teinacher</c:v>
                </c:pt>
                <c:pt idx="8">
                  <c:v>Rosbacher</c:v>
                </c:pt>
                <c:pt idx="9">
                  <c:v>Alasia</c:v>
                </c:pt>
              </c:strCache>
            </c:strRef>
          </c:cat>
          <c:val>
            <c:numRef>
              <c:f>Sheet1!$B$2:$B$11</c:f>
              <c:numCache>
                <c:formatCode>General</c:formatCode>
                <c:ptCount val="10"/>
                <c:pt idx="0">
                  <c:v>0.26727736026558241</c:v>
                </c:pt>
                <c:pt idx="1">
                  <c:v>0.1068586689983318</c:v>
                </c:pt>
                <c:pt idx="2">
                  <c:v>2.9941895691101041E-2</c:v>
                </c:pt>
                <c:pt idx="3">
                  <c:v>2.7040950672964061E-2</c:v>
                </c:pt>
                <c:pt idx="4">
                  <c:v>2.5739193780716499E-2</c:v>
                </c:pt>
                <c:pt idx="5">
                  <c:v>1.34683507107078E-2</c:v>
                </c:pt>
                <c:pt idx="6">
                  <c:v>1.280501137362009E-2</c:v>
                </c:pt>
                <c:pt idx="7">
                  <c:v>1.237067229521247E-2</c:v>
                </c:pt>
                <c:pt idx="8">
                  <c:v>1.172738282603053E-2</c:v>
                </c:pt>
                <c:pt idx="9">
                  <c:v>1.1388368217542501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Eigenmarke</c:v>
                </c:pt>
                <c:pt idx="1">
                  <c:v>Gerolsteiner</c:v>
                </c:pt>
                <c:pt idx="2">
                  <c:v>Adelholzener</c:v>
                </c:pt>
                <c:pt idx="3">
                  <c:v>Vilsa</c:v>
                </c:pt>
                <c:pt idx="4">
                  <c:v>San Pellegrino</c:v>
                </c:pt>
                <c:pt idx="5">
                  <c:v>Rhoen Sprudel</c:v>
                </c:pt>
                <c:pt idx="6">
                  <c:v>Ensinger</c:v>
                </c:pt>
                <c:pt idx="7">
                  <c:v>Teinacher</c:v>
                </c:pt>
                <c:pt idx="8">
                  <c:v>Rosbacher</c:v>
                </c:pt>
                <c:pt idx="9">
                  <c:v>Alasia</c:v>
                </c:pt>
              </c:strCache>
            </c:strRef>
          </c:cat>
          <c:val>
            <c:numRef>
              <c:f>Sheet1!$B$2:$B$11</c:f>
              <c:numCache>
                <c:formatCode>General</c:formatCode>
                <c:ptCount val="10"/>
                <c:pt idx="0">
                  <c:v>0.26727736026558241</c:v>
                </c:pt>
                <c:pt idx="1">
                  <c:v>0.1068586689983318</c:v>
                </c:pt>
                <c:pt idx="2">
                  <c:v>2.9941895691101041E-2</c:v>
                </c:pt>
                <c:pt idx="3">
                  <c:v>2.7040950672964061E-2</c:v>
                </c:pt>
                <c:pt idx="4">
                  <c:v>2.5739193780716499E-2</c:v>
                </c:pt>
                <c:pt idx="5">
                  <c:v>1.34683507107078E-2</c:v>
                </c:pt>
                <c:pt idx="6">
                  <c:v>1.280501137362009E-2</c:v>
                </c:pt>
                <c:pt idx="7">
                  <c:v>1.237067229521247E-2</c:v>
                </c:pt>
                <c:pt idx="8">
                  <c:v>1.172738282603053E-2</c:v>
                </c:pt>
                <c:pt idx="9">
                  <c:v>1.1388368217542501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Eigenmarke</c:v>
                </c:pt>
                <c:pt idx="1">
                  <c:v>Gerolsteiner</c:v>
                </c:pt>
                <c:pt idx="2">
                  <c:v>Adelholzener</c:v>
                </c:pt>
                <c:pt idx="3">
                  <c:v>Vilsa</c:v>
                </c:pt>
                <c:pt idx="4">
                  <c:v>San Pellegrino</c:v>
                </c:pt>
                <c:pt idx="5">
                  <c:v>Rhoen Sprudel</c:v>
                </c:pt>
                <c:pt idx="6">
                  <c:v>Ensinger</c:v>
                </c:pt>
                <c:pt idx="7">
                  <c:v>Teinacher</c:v>
                </c:pt>
                <c:pt idx="8">
                  <c:v>Rosbacher</c:v>
                </c:pt>
                <c:pt idx="9">
                  <c:v>Alasia</c:v>
                </c:pt>
              </c:strCache>
            </c:strRef>
          </c:cat>
          <c:val>
            <c:numRef>
              <c:f>Sheet1!$B$2:$B$11</c:f>
              <c:numCache>
                <c:formatCode>General</c:formatCode>
                <c:ptCount val="10"/>
                <c:pt idx="0">
                  <c:v>0.26727736026558241</c:v>
                </c:pt>
                <c:pt idx="1">
                  <c:v>0.1068586689983318</c:v>
                </c:pt>
                <c:pt idx="2">
                  <c:v>2.9941895691101041E-2</c:v>
                </c:pt>
                <c:pt idx="3">
                  <c:v>2.7040950672964061E-2</c:v>
                </c:pt>
                <c:pt idx="4">
                  <c:v>2.5739193780716499E-2</c:v>
                </c:pt>
                <c:pt idx="5">
                  <c:v>1.34683507107078E-2</c:v>
                </c:pt>
                <c:pt idx="6">
                  <c:v>1.280501137362009E-2</c:v>
                </c:pt>
                <c:pt idx="7">
                  <c:v>1.237067229521247E-2</c:v>
                </c:pt>
                <c:pt idx="8">
                  <c:v>1.172738282603053E-2</c:v>
                </c:pt>
                <c:pt idx="9">
                  <c:v>1.1388368217542501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Eigenmarke</c:v>
                </c:pt>
                <c:pt idx="1">
                  <c:v>Gerolsteiner</c:v>
                </c:pt>
                <c:pt idx="2">
                  <c:v>Adelholzener</c:v>
                </c:pt>
                <c:pt idx="3">
                  <c:v>Vilsa</c:v>
                </c:pt>
                <c:pt idx="4">
                  <c:v>San Pellegrino</c:v>
                </c:pt>
                <c:pt idx="5">
                  <c:v>Rhoen Sprudel</c:v>
                </c:pt>
                <c:pt idx="6">
                  <c:v>Ensinger</c:v>
                </c:pt>
                <c:pt idx="7">
                  <c:v>Teinacher</c:v>
                </c:pt>
                <c:pt idx="8">
                  <c:v>Rosbacher</c:v>
                </c:pt>
                <c:pt idx="9">
                  <c:v>Alasia</c:v>
                </c:pt>
              </c:strCache>
            </c:strRef>
          </c:cat>
          <c:val>
            <c:numRef>
              <c:f>Sheet1!$B$2:$B$11</c:f>
              <c:numCache>
                <c:formatCode>General</c:formatCode>
                <c:ptCount val="10"/>
                <c:pt idx="0">
                  <c:v>0.26727736026558241</c:v>
                </c:pt>
                <c:pt idx="1">
                  <c:v>0.1068586689983318</c:v>
                </c:pt>
                <c:pt idx="2">
                  <c:v>2.9941895691101041E-2</c:v>
                </c:pt>
                <c:pt idx="3">
                  <c:v>2.7040950672964061E-2</c:v>
                </c:pt>
                <c:pt idx="4">
                  <c:v>2.5739193780716499E-2</c:v>
                </c:pt>
                <c:pt idx="5">
                  <c:v>1.34683507107078E-2</c:v>
                </c:pt>
                <c:pt idx="6">
                  <c:v>1.280501137362009E-2</c:v>
                </c:pt>
                <c:pt idx="7">
                  <c:v>1.237067229521247E-2</c:v>
                </c:pt>
                <c:pt idx="8">
                  <c:v>1.172738282603053E-2</c:v>
                </c:pt>
                <c:pt idx="9">
                  <c:v>1.1388368217542501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Eigenmarke</c:v>
                </c:pt>
                <c:pt idx="1">
                  <c:v>Gerolsteiner</c:v>
                </c:pt>
                <c:pt idx="2">
                  <c:v>Adelholzener</c:v>
                </c:pt>
                <c:pt idx="3">
                  <c:v>Vilsa</c:v>
                </c:pt>
                <c:pt idx="4">
                  <c:v>San Pellegrino</c:v>
                </c:pt>
                <c:pt idx="5">
                  <c:v>Rhoen Sprudel</c:v>
                </c:pt>
                <c:pt idx="6">
                  <c:v>Ensinger</c:v>
                </c:pt>
                <c:pt idx="7">
                  <c:v>Teinacher</c:v>
                </c:pt>
                <c:pt idx="8">
                  <c:v>Rosbacher</c:v>
                </c:pt>
                <c:pt idx="9">
                  <c:v>Alasia</c:v>
                </c:pt>
              </c:strCache>
            </c:strRef>
          </c:cat>
          <c:val>
            <c:numRef>
              <c:f>Sheet1!$B$2:$B$11</c:f>
              <c:numCache>
                <c:formatCode>General</c:formatCode>
                <c:ptCount val="10"/>
                <c:pt idx="0">
                  <c:v>0.26727736026558241</c:v>
                </c:pt>
                <c:pt idx="1">
                  <c:v>0.1068586689983318</c:v>
                </c:pt>
                <c:pt idx="2">
                  <c:v>2.9941895691101041E-2</c:v>
                </c:pt>
                <c:pt idx="3">
                  <c:v>2.7040950672964061E-2</c:v>
                </c:pt>
                <c:pt idx="4">
                  <c:v>2.5739193780716499E-2</c:v>
                </c:pt>
                <c:pt idx="5">
                  <c:v>1.34683507107078E-2</c:v>
                </c:pt>
                <c:pt idx="6">
                  <c:v>1.280501137362009E-2</c:v>
                </c:pt>
                <c:pt idx="7">
                  <c:v>1.237067229521247E-2</c:v>
                </c:pt>
                <c:pt idx="8">
                  <c:v>1.172738282603053E-2</c:v>
                </c:pt>
                <c:pt idx="9">
                  <c:v>1.1388368217542501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Eigenmarke</c:v>
                </c:pt>
                <c:pt idx="1">
                  <c:v>Gerolsteiner</c:v>
                </c:pt>
                <c:pt idx="2">
                  <c:v>Adelholzener</c:v>
                </c:pt>
                <c:pt idx="3">
                  <c:v>Vilsa</c:v>
                </c:pt>
                <c:pt idx="4">
                  <c:v>San Pellegrino</c:v>
                </c:pt>
                <c:pt idx="5">
                  <c:v>Rhoen Sprudel</c:v>
                </c:pt>
                <c:pt idx="6">
                  <c:v>Ensinger</c:v>
                </c:pt>
                <c:pt idx="7">
                  <c:v>Teinacher</c:v>
                </c:pt>
                <c:pt idx="8">
                  <c:v>Rosbacher</c:v>
                </c:pt>
                <c:pt idx="9">
                  <c:v>Alasia</c:v>
                </c:pt>
              </c:strCache>
            </c:strRef>
          </c:cat>
          <c:val>
            <c:numRef>
              <c:f>Sheet1!$B$2:$B$11</c:f>
              <c:numCache>
                <c:formatCode>General</c:formatCode>
                <c:ptCount val="10"/>
                <c:pt idx="0">
                  <c:v>0.26727736026558241</c:v>
                </c:pt>
                <c:pt idx="1">
                  <c:v>0.1068586689983318</c:v>
                </c:pt>
                <c:pt idx="2">
                  <c:v>2.9941895691101041E-2</c:v>
                </c:pt>
                <c:pt idx="3">
                  <c:v>2.7040950672964061E-2</c:v>
                </c:pt>
                <c:pt idx="4">
                  <c:v>2.5739193780716499E-2</c:v>
                </c:pt>
                <c:pt idx="5">
                  <c:v>1.34683507107078E-2</c:v>
                </c:pt>
                <c:pt idx="6">
                  <c:v>1.280501137362009E-2</c:v>
                </c:pt>
                <c:pt idx="7">
                  <c:v>1.237067229521247E-2</c:v>
                </c:pt>
                <c:pt idx="8">
                  <c:v>1.172738282603053E-2</c:v>
                </c:pt>
                <c:pt idx="9">
                  <c:v>1.1388368217542501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537302.72100000002</c:v>
                </c:pt>
                <c:pt idx="1">
                  <c:v>560246.17200000002</c:v>
                </c:pt>
                <c:pt idx="2">
                  <c:v>562664.7580000000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295450.05900000001</c:v>
                </c:pt>
                <c:pt idx="1">
                  <c:v>326632.31900000002</c:v>
                </c:pt>
                <c:pt idx="2">
                  <c:v>339887.65899999999</c:v>
                </c:pt>
              </c:numCache>
            </c:numRef>
          </c:val>
          <c:extLst>
            <c:ext xmlns:c16="http://schemas.microsoft.com/office/drawing/2014/chart" uri="{C3380CC4-5D6E-409C-BE32-E72D297353CC}">
              <c16:uniqueId val="{00000001-4220-4928-A565-C068005E7386}"/>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417301.478</c:v>
                </c:pt>
                <c:pt idx="1">
                  <c:v>522488.34399999998</c:v>
                </c:pt>
                <c:pt idx="2">
                  <c:v>504324.33</c:v>
                </c:pt>
              </c:numCache>
            </c:numRef>
          </c:val>
          <c:extLst>
            <c:ext xmlns:c16="http://schemas.microsoft.com/office/drawing/2014/chart" uri="{C3380CC4-5D6E-409C-BE32-E72D297353CC}">
              <c16:uniqueId val="{00000002-4220-4928-A565-C068005E7386}"/>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492785.538</c:v>
                </c:pt>
                <c:pt idx="1">
                  <c:v>525683.76199999999</c:v>
                </c:pt>
                <c:pt idx="2">
                  <c:v>556596.89199999999</c:v>
                </c:pt>
              </c:numCache>
            </c:numRef>
          </c:val>
          <c:extLst>
            <c:ext xmlns:c16="http://schemas.microsoft.com/office/drawing/2014/chart" uri="{C3380CC4-5D6E-409C-BE32-E72D297353CC}">
              <c16:uniqueId val="{00000003-4220-4928-A565-C068005E7386}"/>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dLbl>
              <c:idx val="2"/>
              <c:tx>
                <c:rich>
                  <a:bodyPr/>
                  <a:lstStyle/>
                  <a:p>
                    <a:fld id="{0839DC8B-68F4-48DF-AD39-8215B9416F90}"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1FA0-4EEC-B9D9-63C0F9EB54A8}"/>
                </c:ext>
              </c:extLst>
            </c:dLbl>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193381.595</c:v>
                </c:pt>
                <c:pt idx="1">
                  <c:v>210474.00599999999</c:v>
                </c:pt>
                <c:pt idx="2">
                  <c:v>248991.11900000001</c:v>
                </c:pt>
              </c:numCache>
            </c:numRef>
          </c:val>
          <c:extLst>
            <c:ext xmlns:c16="http://schemas.microsoft.com/office/drawing/2014/chart" uri="{C3380CC4-5D6E-409C-BE32-E72D297353CC}">
              <c16:uniqueId val="{00000004-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r>
              <a:rPr lang="en-US" sz="800" b="0" i="0" u="none" strike="noStrike" kern="1200" spc="0" baseline="0" dirty="0">
                <a:solidFill>
                  <a:schemeClr val="tx1"/>
                </a:solidFill>
                <a:latin typeface="+mj-lt"/>
                <a:ea typeface="Open Sans" panose="020B0606030504020204" pitchFamily="34" charset="0"/>
                <a:cs typeface="Open Sans" panose="020B0606030504020204" pitchFamily="34" charset="0"/>
              </a:rPr>
              <a:t>Change in average share by Company,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manualLayout>
          <c:layoutTarget val="inner"/>
          <c:xMode val="edge"/>
          <c:yMode val="edge"/>
          <c:x val="4.5205042438763526E-2"/>
          <c:y val="9.9397151645846074E-2"/>
          <c:w val="0.93468942653552012"/>
          <c:h val="0.61239220651000625"/>
        </c:manualLayout>
      </c:layout>
      <c:barChart>
        <c:barDir val="col"/>
        <c:grouping val="stacked"/>
        <c:varyColors val="0"/>
        <c:ser>
          <c:idx val="1"/>
          <c:order val="1"/>
          <c:tx>
            <c:strRef>
              <c:f>Sheet1!$C$1</c:f>
              <c:strCache>
                <c:ptCount val="1"/>
                <c:pt idx="0">
                  <c:v>Sector 1</c:v>
                </c:pt>
              </c:strCache>
              <c:extLst xmlns:c15="http://schemas.microsoft.com/office/drawing/2012/chart"/>
            </c:strRef>
          </c:tx>
          <c:spPr>
            <a:solidFill>
              <a:schemeClr val="dk1">
                <a:tint val="55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C$2:$C$36</c:f>
              <c:numCache>
                <c:formatCode>General</c:formatCode>
                <c:ptCount val="35"/>
                <c:pt idx="0">
                  <c:v>40.809865000000002</c:v>
                </c:pt>
                <c:pt idx="1">
                  <c:v>41.860694000000002</c:v>
                </c:pt>
                <c:pt idx="2">
                  <c:v>34.509422000000001</c:v>
                </c:pt>
                <c:pt idx="3">
                  <c:v>49.657702</c:v>
                </c:pt>
                <c:pt idx="4">
                  <c:v>50.616717999999999</c:v>
                </c:pt>
                <c:pt idx="5">
                  <c:v>51.539561999999997</c:v>
                </c:pt>
                <c:pt idx="6">
                  <c:v>53.959558000000001</c:v>
                </c:pt>
                <c:pt idx="7">
                  <c:v>48.84498</c:v>
                </c:pt>
                <c:pt idx="8">
                  <c:v>43.617640999999999</c:v>
                </c:pt>
                <c:pt idx="9">
                  <c:v>44.545436000000002</c:v>
                </c:pt>
                <c:pt idx="10">
                  <c:v>41.403309999999998</c:v>
                </c:pt>
                <c:pt idx="11">
                  <c:v>42.115876</c:v>
                </c:pt>
                <c:pt idx="12">
                  <c:v>39.743237000000001</c:v>
                </c:pt>
                <c:pt idx="13">
                  <c:v>42.646582000000002</c:v>
                </c:pt>
                <c:pt idx="14">
                  <c:v>40.323042999999998</c:v>
                </c:pt>
                <c:pt idx="15">
                  <c:v>52.877302</c:v>
                </c:pt>
                <c:pt idx="16">
                  <c:v>52.359431000000001</c:v>
                </c:pt>
                <c:pt idx="17">
                  <c:v>50.322519999999997</c:v>
                </c:pt>
                <c:pt idx="18">
                  <c:v>52.78004</c:v>
                </c:pt>
                <c:pt idx="19">
                  <c:v>49.372244999999999</c:v>
                </c:pt>
                <c:pt idx="20">
                  <c:v>50.002222000000003</c:v>
                </c:pt>
                <c:pt idx="21">
                  <c:v>46.193210000000001</c:v>
                </c:pt>
                <c:pt idx="22">
                  <c:v>41.510463999999999</c:v>
                </c:pt>
                <c:pt idx="23">
                  <c:v>40.221505000000001</c:v>
                </c:pt>
                <c:pt idx="24">
                  <c:v>42.523161999999999</c:v>
                </c:pt>
                <c:pt idx="25">
                  <c:v>45.628883999999999</c:v>
                </c:pt>
                <c:pt idx="26">
                  <c:v>40.031787999999999</c:v>
                </c:pt>
                <c:pt idx="27">
                  <c:v>51.652650000000001</c:v>
                </c:pt>
                <c:pt idx="28">
                  <c:v>50.177590000000002</c:v>
                </c:pt>
                <c:pt idx="29">
                  <c:v>54.531019999999998</c:v>
                </c:pt>
                <c:pt idx="30">
                  <c:v>56.857843000000003</c:v>
                </c:pt>
                <c:pt idx="31">
                  <c:v>50.233561999999999</c:v>
                </c:pt>
                <c:pt idx="32">
                  <c:v>48.179372000000001</c:v>
                </c:pt>
                <c:pt idx="33">
                  <c:v>47.120365</c:v>
                </c:pt>
                <c:pt idx="34">
                  <c:v>35.507016999999998</c:v>
                </c:pt>
              </c:numCache>
              <c:extLst xmlns:c15="http://schemas.microsoft.com/office/drawing/2012/chart"/>
            </c:numRef>
          </c:val>
          <c:extLst xmlns:c15="http://schemas.microsoft.com/office/drawing/2012/chart">
            <c:ext xmlns:c16="http://schemas.microsoft.com/office/drawing/2014/chart" uri="{C3380CC4-5D6E-409C-BE32-E72D297353CC}">
              <c16:uniqueId val="{00000001-A582-417D-A5F8-2A0075530F50}"/>
            </c:ext>
          </c:extLst>
        </c:ser>
        <c:ser>
          <c:idx val="2"/>
          <c:order val="2"/>
          <c:tx>
            <c:strRef>
              <c:f>Sheet1!$D$1</c:f>
              <c:strCache>
                <c:ptCount val="1"/>
                <c:pt idx="0">
                  <c:v>Sector 2</c:v>
                </c:pt>
              </c:strCache>
              <c:extLst xmlns:c15="http://schemas.microsoft.com/office/drawing/2012/chart"/>
            </c:strRef>
          </c:tx>
          <c:spPr>
            <a:solidFill>
              <a:schemeClr val="dk1">
                <a:tint val="75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D$2:$D$36</c:f>
              <c:numCache>
                <c:formatCode>General</c:formatCode>
                <c:ptCount val="35"/>
                <c:pt idx="0">
                  <c:v>19.557812999999999</c:v>
                </c:pt>
                <c:pt idx="1">
                  <c:v>23.784803</c:v>
                </c:pt>
                <c:pt idx="2">
                  <c:v>21.799987000000002</c:v>
                </c:pt>
                <c:pt idx="3">
                  <c:v>25.857672000000001</c:v>
                </c:pt>
                <c:pt idx="4">
                  <c:v>24.992432999999998</c:v>
                </c:pt>
                <c:pt idx="5">
                  <c:v>26.955321999999999</c:v>
                </c:pt>
                <c:pt idx="6">
                  <c:v>32.419100999999998</c:v>
                </c:pt>
                <c:pt idx="7">
                  <c:v>29.344944999999999</c:v>
                </c:pt>
                <c:pt idx="8">
                  <c:v>27.493164</c:v>
                </c:pt>
                <c:pt idx="9">
                  <c:v>23.275084</c:v>
                </c:pt>
                <c:pt idx="10">
                  <c:v>24.237242999999999</c:v>
                </c:pt>
                <c:pt idx="11">
                  <c:v>23.067723999999998</c:v>
                </c:pt>
                <c:pt idx="12">
                  <c:v>23.036899999999999</c:v>
                </c:pt>
                <c:pt idx="13">
                  <c:v>25.516981000000001</c:v>
                </c:pt>
                <c:pt idx="14">
                  <c:v>22.874832000000001</c:v>
                </c:pt>
                <c:pt idx="15">
                  <c:v>26.349399999999999</c:v>
                </c:pt>
                <c:pt idx="16">
                  <c:v>29.881401</c:v>
                </c:pt>
                <c:pt idx="17">
                  <c:v>31.686630000000001</c:v>
                </c:pt>
                <c:pt idx="18">
                  <c:v>34.259588000000001</c:v>
                </c:pt>
                <c:pt idx="19">
                  <c:v>31.563769000000001</c:v>
                </c:pt>
                <c:pt idx="20">
                  <c:v>27.452038999999999</c:v>
                </c:pt>
                <c:pt idx="21">
                  <c:v>24.840769999999999</c:v>
                </c:pt>
                <c:pt idx="22">
                  <c:v>26.102284999999998</c:v>
                </c:pt>
                <c:pt idx="23">
                  <c:v>23.897715000000002</c:v>
                </c:pt>
                <c:pt idx="24">
                  <c:v>25.006601</c:v>
                </c:pt>
                <c:pt idx="25">
                  <c:v>27.601903</c:v>
                </c:pt>
                <c:pt idx="26">
                  <c:v>22.956002999999999</c:v>
                </c:pt>
                <c:pt idx="27">
                  <c:v>26.913005999999999</c:v>
                </c:pt>
                <c:pt idx="28">
                  <c:v>31.412331999999999</c:v>
                </c:pt>
                <c:pt idx="29">
                  <c:v>32.630974000000002</c:v>
                </c:pt>
                <c:pt idx="30">
                  <c:v>31.591038000000001</c:v>
                </c:pt>
                <c:pt idx="31">
                  <c:v>31.863667</c:v>
                </c:pt>
                <c:pt idx="32">
                  <c:v>31.422338</c:v>
                </c:pt>
                <c:pt idx="33">
                  <c:v>28.426777000000001</c:v>
                </c:pt>
                <c:pt idx="34">
                  <c:v>26.165305</c:v>
                </c:pt>
              </c:numCache>
              <c:extLst xmlns:c15="http://schemas.microsoft.com/office/drawing/2012/chart"/>
            </c:numRef>
          </c:val>
          <c:extLst xmlns:c15="http://schemas.microsoft.com/office/drawing/2012/chart">
            <c:ext xmlns:c16="http://schemas.microsoft.com/office/drawing/2014/chart" uri="{C3380CC4-5D6E-409C-BE32-E72D297353CC}">
              <c16:uniqueId val="{00000000-2D16-4906-BB22-77AF188F6975}"/>
            </c:ext>
          </c:extLst>
        </c:ser>
        <c:ser>
          <c:idx val="3"/>
          <c:order val="3"/>
          <c:tx>
            <c:strRef>
              <c:f>Sheet1!$E$1</c:f>
              <c:strCache>
                <c:ptCount val="1"/>
                <c:pt idx="0">
                  <c:v>Sector 3</c:v>
                </c:pt>
              </c:strCache>
              <c:extLst xmlns:c15="http://schemas.microsoft.com/office/drawing/2012/chart"/>
            </c:strRef>
          </c:tx>
          <c:spPr>
            <a:solidFill>
              <a:schemeClr val="dk1">
                <a:tint val="985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E$2:$E$36</c:f>
              <c:numCache>
                <c:formatCode>General</c:formatCode>
                <c:ptCount val="35"/>
                <c:pt idx="0">
                  <c:v>27.462826</c:v>
                </c:pt>
                <c:pt idx="1">
                  <c:v>39.404572000000002</c:v>
                </c:pt>
                <c:pt idx="2">
                  <c:v>34.570886000000002</c:v>
                </c:pt>
                <c:pt idx="3">
                  <c:v>47.424028999999997</c:v>
                </c:pt>
                <c:pt idx="4">
                  <c:v>42.725195999999997</c:v>
                </c:pt>
                <c:pt idx="5">
                  <c:v>49.893875999999999</c:v>
                </c:pt>
                <c:pt idx="6">
                  <c:v>45.230561999999999</c:v>
                </c:pt>
                <c:pt idx="7">
                  <c:v>36.896878999999998</c:v>
                </c:pt>
                <c:pt idx="8">
                  <c:v>33.942658000000002</c:v>
                </c:pt>
                <c:pt idx="9">
                  <c:v>31.043399000000001</c:v>
                </c:pt>
                <c:pt idx="10">
                  <c:v>28.703312</c:v>
                </c:pt>
                <c:pt idx="11">
                  <c:v>32.247686999999999</c:v>
                </c:pt>
                <c:pt idx="12">
                  <c:v>39.267698000000003</c:v>
                </c:pt>
                <c:pt idx="13">
                  <c:v>36.104199999999999</c:v>
                </c:pt>
                <c:pt idx="14">
                  <c:v>35.473145000000002</c:v>
                </c:pt>
                <c:pt idx="15">
                  <c:v>53.202506999999997</c:v>
                </c:pt>
                <c:pt idx="16">
                  <c:v>50.982067999999998</c:v>
                </c:pt>
                <c:pt idx="17">
                  <c:v>60.592055999999999</c:v>
                </c:pt>
                <c:pt idx="18">
                  <c:v>55.653505000000003</c:v>
                </c:pt>
                <c:pt idx="19">
                  <c:v>45.804431000000001</c:v>
                </c:pt>
                <c:pt idx="20">
                  <c:v>42.097817999999997</c:v>
                </c:pt>
                <c:pt idx="21">
                  <c:v>38.569479999999999</c:v>
                </c:pt>
                <c:pt idx="22">
                  <c:v>32.493749000000001</c:v>
                </c:pt>
                <c:pt idx="23">
                  <c:v>31.329796000000002</c:v>
                </c:pt>
                <c:pt idx="24">
                  <c:v>33.130343000000003</c:v>
                </c:pt>
                <c:pt idx="25">
                  <c:v>40.916313000000002</c:v>
                </c:pt>
                <c:pt idx="26">
                  <c:v>34.557360000000003</c:v>
                </c:pt>
                <c:pt idx="27">
                  <c:v>46.799098000000001</c:v>
                </c:pt>
                <c:pt idx="28">
                  <c:v>46.752299000000001</c:v>
                </c:pt>
                <c:pt idx="29">
                  <c:v>54.888565999999997</c:v>
                </c:pt>
                <c:pt idx="30">
                  <c:v>56.439608999999997</c:v>
                </c:pt>
                <c:pt idx="31">
                  <c:v>44.964128000000002</c:v>
                </c:pt>
                <c:pt idx="32">
                  <c:v>45.321382999999997</c:v>
                </c:pt>
                <c:pt idx="33">
                  <c:v>37.671095999999999</c:v>
                </c:pt>
                <c:pt idx="34">
                  <c:v>31.554338999999999</c:v>
                </c:pt>
              </c:numCache>
              <c:extLst xmlns:c15="http://schemas.microsoft.com/office/drawing/2012/chart"/>
            </c:numRef>
          </c:val>
          <c:extLst xmlns:c15="http://schemas.microsoft.com/office/drawing/2012/chart">
            <c:ext xmlns:c16="http://schemas.microsoft.com/office/drawing/2014/chart" uri="{C3380CC4-5D6E-409C-BE32-E72D297353CC}">
              <c16:uniqueId val="{00000001-2D16-4906-BB22-77AF188F6975}"/>
            </c:ext>
          </c:extLst>
        </c:ser>
        <c:ser>
          <c:idx val="4"/>
          <c:order val="4"/>
          <c:tx>
            <c:strRef>
              <c:f>Sheet1!$F$1</c:f>
              <c:strCache>
                <c:ptCount val="1"/>
                <c:pt idx="0">
                  <c:v>Sector 4</c:v>
                </c:pt>
              </c:strCache>
              <c:extLst xmlns:c15="http://schemas.microsoft.com/office/drawing/2012/chart"/>
            </c:strRef>
          </c:tx>
          <c:spPr>
            <a:solidFill>
              <a:schemeClr val="dk1">
                <a:tint val="30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F$2:$F$36</c:f>
              <c:numCache>
                <c:formatCode>General</c:formatCode>
                <c:ptCount val="35"/>
                <c:pt idx="0">
                  <c:v>28.541810999999999</c:v>
                </c:pt>
                <c:pt idx="1">
                  <c:v>29.052481</c:v>
                </c:pt>
                <c:pt idx="2">
                  <c:v>33.367750000000001</c:v>
                </c:pt>
                <c:pt idx="3">
                  <c:v>35.968623999999998</c:v>
                </c:pt>
                <c:pt idx="4">
                  <c:v>33.207349000000001</c:v>
                </c:pt>
                <c:pt idx="5">
                  <c:v>35.057527</c:v>
                </c:pt>
                <c:pt idx="6">
                  <c:v>38.900894999999998</c:v>
                </c:pt>
                <c:pt idx="7">
                  <c:v>43.694178999999998</c:v>
                </c:pt>
                <c:pt idx="8">
                  <c:v>62.841144999999997</c:v>
                </c:pt>
                <c:pt idx="9">
                  <c:v>54.763354999999997</c:v>
                </c:pt>
                <c:pt idx="10">
                  <c:v>89.252371999999994</c:v>
                </c:pt>
                <c:pt idx="11">
                  <c:v>25.975645</c:v>
                </c:pt>
                <c:pt idx="12">
                  <c:v>30.148197</c:v>
                </c:pt>
                <c:pt idx="13">
                  <c:v>36.475974999999998</c:v>
                </c:pt>
                <c:pt idx="14">
                  <c:v>29.658926000000001</c:v>
                </c:pt>
                <c:pt idx="15">
                  <c:v>35.421528000000002</c:v>
                </c:pt>
                <c:pt idx="16">
                  <c:v>32.439849000000002</c:v>
                </c:pt>
                <c:pt idx="17">
                  <c:v>35.716830000000002</c:v>
                </c:pt>
                <c:pt idx="18">
                  <c:v>41.225175999999998</c:v>
                </c:pt>
                <c:pt idx="19">
                  <c:v>43.331505999999997</c:v>
                </c:pt>
                <c:pt idx="20">
                  <c:v>67.705122000000003</c:v>
                </c:pt>
                <c:pt idx="21">
                  <c:v>56.56662</c:v>
                </c:pt>
                <c:pt idx="22">
                  <c:v>91.018388000000002</c:v>
                </c:pt>
                <c:pt idx="23">
                  <c:v>26.250737000000001</c:v>
                </c:pt>
                <c:pt idx="24">
                  <c:v>30.771353000000001</c:v>
                </c:pt>
                <c:pt idx="25">
                  <c:v>32.781751</c:v>
                </c:pt>
                <c:pt idx="26">
                  <c:v>40.871063999999997</c:v>
                </c:pt>
                <c:pt idx="27">
                  <c:v>36.555362000000002</c:v>
                </c:pt>
                <c:pt idx="28">
                  <c:v>33.561486000000002</c:v>
                </c:pt>
                <c:pt idx="29">
                  <c:v>37.536104000000002</c:v>
                </c:pt>
                <c:pt idx="30">
                  <c:v>45.721882000000001</c:v>
                </c:pt>
                <c:pt idx="31">
                  <c:v>44.358134999999997</c:v>
                </c:pt>
                <c:pt idx="32">
                  <c:v>73.994276999999997</c:v>
                </c:pt>
                <c:pt idx="33">
                  <c:v>62.661236000000002</c:v>
                </c:pt>
                <c:pt idx="34">
                  <c:v>91.533505000000005</c:v>
                </c:pt>
              </c:numCache>
              <c:extLst xmlns:c15="http://schemas.microsoft.com/office/drawing/2012/chart"/>
            </c:numRef>
          </c:val>
          <c:extLst xmlns:c15="http://schemas.microsoft.com/office/drawing/2012/chart">
            <c:ext xmlns:c16="http://schemas.microsoft.com/office/drawing/2014/chart" uri="{C3380CC4-5D6E-409C-BE32-E72D297353CC}">
              <c16:uniqueId val="{00000002-2D16-4906-BB22-77AF188F6975}"/>
            </c:ext>
          </c:extLst>
        </c:ser>
        <c:ser>
          <c:idx val="5"/>
          <c:order val="5"/>
          <c:tx>
            <c:strRef>
              <c:f>Sheet1!$G$1</c:f>
              <c:strCache>
                <c:ptCount val="1"/>
                <c:pt idx="0">
                  <c:v>Sector 5</c:v>
                </c:pt>
              </c:strCache>
              <c:extLst xmlns:c15="http://schemas.microsoft.com/office/drawing/2012/chart"/>
            </c:strRef>
          </c:tx>
          <c:spPr>
            <a:solidFill>
              <a:schemeClr val="dk1">
                <a:tint val="60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G$2:$G$36</c:f>
              <c:numCache>
                <c:formatCode>General</c:formatCode>
                <c:ptCount val="35"/>
                <c:pt idx="0">
                  <c:v>12.194502</c:v>
                </c:pt>
                <c:pt idx="1">
                  <c:v>7.156504</c:v>
                </c:pt>
                <c:pt idx="2">
                  <c:v>12.852249</c:v>
                </c:pt>
                <c:pt idx="3">
                  <c:v>17.913703000000002</c:v>
                </c:pt>
                <c:pt idx="4">
                  <c:v>9.8828340000000008</c:v>
                </c:pt>
                <c:pt idx="5">
                  <c:v>9.6037440000000007</c:v>
                </c:pt>
                <c:pt idx="6">
                  <c:v>11.410088999999999</c:v>
                </c:pt>
                <c:pt idx="7">
                  <c:v>11.869301</c:v>
                </c:pt>
                <c:pt idx="8">
                  <c:v>10.943581</c:v>
                </c:pt>
                <c:pt idx="9">
                  <c:v>24.200908999999999</c:v>
                </c:pt>
                <c:pt idx="10">
                  <c:v>59.814160000000001</c:v>
                </c:pt>
                <c:pt idx="11">
                  <c:v>7.4327399999999999</c:v>
                </c:pt>
                <c:pt idx="12">
                  <c:v>12.873098000000001</c:v>
                </c:pt>
                <c:pt idx="13">
                  <c:v>17.347481999999999</c:v>
                </c:pt>
                <c:pt idx="14">
                  <c:v>14.342812</c:v>
                </c:pt>
                <c:pt idx="15">
                  <c:v>16.454574000000001</c:v>
                </c:pt>
                <c:pt idx="16">
                  <c:v>8.7173169999999995</c:v>
                </c:pt>
                <c:pt idx="17">
                  <c:v>8.7356230000000004</c:v>
                </c:pt>
                <c:pt idx="18">
                  <c:v>11.042906</c:v>
                </c:pt>
                <c:pt idx="19">
                  <c:v>11.438431</c:v>
                </c:pt>
                <c:pt idx="20">
                  <c:v>12.034544</c:v>
                </c:pt>
                <c:pt idx="21">
                  <c:v>28.273</c:v>
                </c:pt>
                <c:pt idx="22">
                  <c:v>61.781478999999997</c:v>
                </c:pt>
                <c:pt idx="23">
                  <c:v>8.5091110000000008</c:v>
                </c:pt>
                <c:pt idx="24">
                  <c:v>14.055974000000001</c:v>
                </c:pt>
                <c:pt idx="25">
                  <c:v>10.074814999999999</c:v>
                </c:pt>
                <c:pt idx="26">
                  <c:v>26.582386</c:v>
                </c:pt>
                <c:pt idx="27">
                  <c:v>16.377361000000001</c:v>
                </c:pt>
                <c:pt idx="28">
                  <c:v>10.356033</c:v>
                </c:pt>
                <c:pt idx="29">
                  <c:v>11.832685</c:v>
                </c:pt>
                <c:pt idx="30">
                  <c:v>14.576200999999999</c:v>
                </c:pt>
                <c:pt idx="31">
                  <c:v>14.285002</c:v>
                </c:pt>
                <c:pt idx="32">
                  <c:v>16.927510000000002</c:v>
                </c:pt>
                <c:pt idx="33">
                  <c:v>34.868727999999997</c:v>
                </c:pt>
                <c:pt idx="34">
                  <c:v>70.545312999999993</c:v>
                </c:pt>
              </c:numCache>
              <c:extLst xmlns:c15="http://schemas.microsoft.com/office/drawing/2012/chart"/>
            </c:numRef>
          </c:val>
          <c:extLst xmlns:c15="http://schemas.microsoft.com/office/drawing/2012/chart">
            <c:ext xmlns:c16="http://schemas.microsoft.com/office/drawing/2014/chart" uri="{C3380CC4-5D6E-409C-BE32-E72D297353CC}">
              <c16:uniqueId val="{00000003-2D16-4906-BB22-77AF188F6975}"/>
            </c:ext>
          </c:extLst>
        </c:ser>
        <c:ser>
          <c:idx val="6"/>
          <c:order val="6"/>
          <c:tx>
            <c:strRef>
              <c:f>Sheet1!$H$1</c:f>
              <c:strCache>
                <c:ptCount val="1"/>
                <c:pt idx="0">
                  <c:v>Sector 6</c:v>
                </c:pt>
              </c:strCache>
              <c:extLst xmlns:c15="http://schemas.microsoft.com/office/drawing/2012/chart"/>
            </c:strRef>
          </c:tx>
          <c:spPr>
            <a:solidFill>
              <a:schemeClr val="dk1">
                <a:tint val="80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H$2:$H$36</c:f>
              <c:numCache>
                <c:formatCode>General</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3-CB01-4B89-A725-1CA2D0FD4A84}"/>
            </c:ext>
          </c:extLst>
        </c:ser>
        <c:ser>
          <c:idx val="7"/>
          <c:order val="7"/>
          <c:tx>
            <c:strRef>
              <c:f>Sheet1!$I$1</c:f>
              <c:strCache>
                <c:ptCount val="1"/>
                <c:pt idx="0">
                  <c:v>Sector 7</c:v>
                </c:pt>
              </c:strCache>
              <c:extLst xmlns:c15="http://schemas.microsoft.com/office/drawing/2012/chart"/>
            </c:strRef>
          </c:tx>
          <c:spPr>
            <a:solidFill>
              <a:schemeClr val="dk1">
                <a:tint val="885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I$2:$I$36</c:f>
              <c:numCache>
                <c:formatCode>General</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4-CB01-4B89-A725-1CA2D0FD4A84}"/>
            </c:ext>
          </c:extLst>
        </c:ser>
        <c:ser>
          <c:idx val="8"/>
          <c:order val="8"/>
          <c:tx>
            <c:strRef>
              <c:f>Sheet1!$J$1</c:f>
              <c:strCache>
                <c:ptCount val="1"/>
                <c:pt idx="0">
                  <c:v>Sector 8</c:v>
                </c:pt>
              </c:strCache>
              <c:extLst xmlns:c15="http://schemas.microsoft.com/office/drawing/2012/chart"/>
            </c:strRef>
          </c:tx>
          <c:spPr>
            <a:solidFill>
              <a:schemeClr val="dk1">
                <a:tint val="55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J$2:$J$36</c:f>
              <c:numCache>
                <c:formatCode>General</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5-CB01-4B89-A725-1CA2D0FD4A84}"/>
            </c:ext>
          </c:extLst>
        </c:ser>
        <c:ser>
          <c:idx val="9"/>
          <c:order val="9"/>
          <c:tx>
            <c:strRef>
              <c:f>Sheet1!$K$1</c:f>
              <c:strCache>
                <c:ptCount val="1"/>
                <c:pt idx="0">
                  <c:v>Sector 9</c:v>
                </c:pt>
              </c:strCache>
              <c:extLst xmlns:c15="http://schemas.microsoft.com/office/drawing/2012/chart"/>
            </c:strRef>
          </c:tx>
          <c:spPr>
            <a:solidFill>
              <a:schemeClr val="dk1">
                <a:tint val="75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K$2:$K$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6-CB01-4B89-A725-1CA2D0FD4A84}"/>
            </c:ext>
          </c:extLst>
        </c:ser>
        <c:ser>
          <c:idx val="10"/>
          <c:order val="10"/>
          <c:tx>
            <c:strRef>
              <c:f>Sheet1!$L$1</c:f>
              <c:strCache>
                <c:ptCount val="1"/>
                <c:pt idx="0">
                  <c:v>Sector 10</c:v>
                </c:pt>
              </c:strCache>
              <c:extLst xmlns:c15="http://schemas.microsoft.com/office/drawing/2012/chart"/>
            </c:strRef>
          </c:tx>
          <c:spPr>
            <a:solidFill>
              <a:schemeClr val="dk1">
                <a:tint val="985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L$2:$L$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7-CB01-4B89-A725-1CA2D0FD4A84}"/>
            </c:ext>
          </c:extLst>
        </c:ser>
        <c:ser>
          <c:idx val="11"/>
          <c:order val="11"/>
          <c:tx>
            <c:strRef>
              <c:f>Sheet1!$M$1</c:f>
              <c:strCache>
                <c:ptCount val="1"/>
                <c:pt idx="0">
                  <c:v>Sector 11</c:v>
                </c:pt>
              </c:strCache>
              <c:extLst xmlns:c15="http://schemas.microsoft.com/office/drawing/2012/chart"/>
            </c:strRef>
          </c:tx>
          <c:spPr>
            <a:solidFill>
              <a:schemeClr val="dk1">
                <a:tint val="30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M$2:$M$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8-CB01-4B89-A725-1CA2D0FD4A84}"/>
            </c:ext>
          </c:extLst>
        </c:ser>
        <c:ser>
          <c:idx val="12"/>
          <c:order val="12"/>
          <c:tx>
            <c:strRef>
              <c:f>Sheet1!$N$1</c:f>
              <c:strCache>
                <c:ptCount val="1"/>
                <c:pt idx="0">
                  <c:v>Sector 12</c:v>
                </c:pt>
              </c:strCache>
              <c:extLst xmlns:c15="http://schemas.microsoft.com/office/drawing/2012/chart"/>
            </c:strRef>
          </c:tx>
          <c:spPr>
            <a:solidFill>
              <a:schemeClr val="dk1">
                <a:tint val="60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N$2:$N$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9-CB01-4B89-A725-1CA2D0FD4A84}"/>
            </c:ext>
          </c:extLst>
        </c:ser>
        <c:ser>
          <c:idx val="13"/>
          <c:order val="13"/>
          <c:tx>
            <c:strRef>
              <c:f>Sheet1!$O$1</c:f>
              <c:strCache>
                <c:ptCount val="1"/>
                <c:pt idx="0">
                  <c:v>Sector 13</c:v>
                </c:pt>
              </c:strCache>
            </c:strRef>
          </c:tx>
          <c:spPr>
            <a:solidFill>
              <a:srgbClr val="CFCECE"/>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f>Sheet1!$O$2:$O$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numRef>
          </c:val>
          <c:extLst>
            <c:ext xmlns:c16="http://schemas.microsoft.com/office/drawing/2014/chart" uri="{C3380CC4-5D6E-409C-BE32-E72D297353CC}">
              <c16:uniqueId val="{0000000A-CB01-4B89-A725-1CA2D0FD4A84}"/>
            </c:ext>
          </c:extLst>
        </c:ser>
        <c:ser>
          <c:idx val="14"/>
          <c:order val="14"/>
          <c:tx>
            <c:strRef>
              <c:f>Sheet1!$P$1</c:f>
              <c:strCache>
                <c:ptCount val="1"/>
                <c:pt idx="0">
                  <c:v>Sector 14</c:v>
                </c:pt>
              </c:strCache>
            </c:strRef>
          </c:tx>
          <c:spPr>
            <a:solidFill>
              <a:srgbClr val="B2DFDC"/>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f>Sheet1!$P$2:$P$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numRef>
          </c:val>
          <c:extLst>
            <c:ext xmlns:c16="http://schemas.microsoft.com/office/drawing/2014/chart" uri="{C3380CC4-5D6E-409C-BE32-E72D297353CC}">
              <c16:uniqueId val="{0000000B-CB01-4B89-A725-1CA2D0FD4A84}"/>
            </c:ext>
          </c:extLst>
        </c:ser>
        <c:ser>
          <c:idx val="15"/>
          <c:order val="15"/>
          <c:tx>
            <c:strRef>
              <c:f>Sheet1!$Q$1</c:f>
              <c:strCache>
                <c:ptCount val="1"/>
                <c:pt idx="0">
                  <c:v>Sector 15</c:v>
                </c:pt>
              </c:strCache>
            </c:strRef>
          </c:tx>
          <c:spPr>
            <a:solidFill>
              <a:srgbClr val="00A097"/>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f>Sheet1!$Q$2:$Q$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numRef>
          </c:val>
          <c:extLst>
            <c:ext xmlns:c16="http://schemas.microsoft.com/office/drawing/2014/chart" uri="{C3380CC4-5D6E-409C-BE32-E72D297353CC}">
              <c16:uniqueId val="{0000000C-CB01-4B89-A725-1CA2D0FD4A84}"/>
            </c:ext>
          </c:extLst>
        </c:ser>
        <c:dLbls>
          <c:showLegendKey val="0"/>
          <c:showVal val="0"/>
          <c:showCatName val="0"/>
          <c:showSerName val="0"/>
          <c:showPercent val="0"/>
          <c:showBubbleSize val="0"/>
        </c:dLbls>
        <c:gapWidth val="150"/>
        <c:overlap val="100"/>
        <c:axId val="1624167016"/>
        <c:axId val="1624169640"/>
        <c:extLst/>
      </c:barChart>
      <c:lineChart>
        <c:grouping val="stacked"/>
        <c:varyColors val="0"/>
        <c:ser>
          <c:idx val="0"/>
          <c:order val="0"/>
          <c:tx>
            <c:strRef>
              <c:f>Sheet1!$B$1</c:f>
              <c:strCache>
                <c:ptCount val="1"/>
                <c:pt idx="0">
                  <c:v>Value Sales-Category</c:v>
                </c:pt>
              </c:strCache>
            </c:strRef>
          </c:tx>
          <c:spPr>
            <a:ln w="19050" cap="rnd" cmpd="sng" algn="ctr">
              <a:solidFill>
                <a:schemeClr val="accent1"/>
              </a:solidFill>
              <a:prstDash val="solid"/>
              <a:round/>
            </a:ln>
            <a:effectLst/>
          </c:spPr>
          <c:marker>
            <c:symbol val="circle"/>
            <c:size val="10"/>
            <c:spPr>
              <a:solidFill>
                <a:schemeClr val="accent1"/>
              </a:solidFill>
              <a:ln w="6350" cap="flat" cmpd="sng" algn="ctr">
                <a:solidFill>
                  <a:schemeClr val="accent1"/>
                </a:solidFill>
                <a:prstDash val="solid"/>
                <a:round/>
              </a:ln>
              <a:effectLst/>
            </c:spPr>
          </c:marker>
          <c:dPt>
            <c:idx val="0"/>
            <c:bubble3D val="0"/>
            <c:spPr>
              <a:ln w="19050" cap="rnd" cmpd="sng" algn="ctr">
                <a:solidFill>
                  <a:schemeClr val="accent1"/>
                </a:solidFill>
                <a:prstDash val="solid"/>
                <a:round/>
              </a:ln>
              <a:effectLst/>
            </c:spPr>
            <c:extLst>
              <c:ext xmlns:c16="http://schemas.microsoft.com/office/drawing/2014/chart" uri="{C3380CC4-5D6E-409C-BE32-E72D297353CC}">
                <c16:uniqueId val="{00000005-2D16-4906-BB22-77AF188F6975}"/>
              </c:ext>
            </c:extLst>
          </c:dPt>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f>Sheet1!$B$2:$B$36</c:f>
              <c:numCache>
                <c:formatCode>General</c:formatCode>
                <c:ptCount val="35"/>
                <c:pt idx="0">
                  <c:v>178.56681699999999</c:v>
                </c:pt>
                <c:pt idx="1">
                  <c:v>191.25905400000002</c:v>
                </c:pt>
                <c:pt idx="2">
                  <c:v>187.10029400000002</c:v>
                </c:pt>
                <c:pt idx="3">
                  <c:v>226.82173</c:v>
                </c:pt>
                <c:pt idx="4">
                  <c:v>211.42453</c:v>
                </c:pt>
                <c:pt idx="5">
                  <c:v>223.05003099999999</c:v>
                </c:pt>
                <c:pt idx="6">
                  <c:v>231.92020499999998</c:v>
                </c:pt>
                <c:pt idx="7">
                  <c:v>220.650284</c:v>
                </c:pt>
                <c:pt idx="8">
                  <c:v>228.838189</c:v>
                </c:pt>
                <c:pt idx="9">
                  <c:v>227.828183</c:v>
                </c:pt>
                <c:pt idx="10">
                  <c:v>293.41039699999999</c:v>
                </c:pt>
                <c:pt idx="11">
                  <c:v>180.83967200000001</c:v>
                </c:pt>
                <c:pt idx="12">
                  <c:v>195.06913</c:v>
                </c:pt>
                <c:pt idx="13">
                  <c:v>208.09122000000002</c:v>
                </c:pt>
                <c:pt idx="14">
                  <c:v>192.67275800000002</c:v>
                </c:pt>
                <c:pt idx="15">
                  <c:v>234.30531100000002</c:v>
                </c:pt>
                <c:pt idx="16">
                  <c:v>224.380066</c:v>
                </c:pt>
                <c:pt idx="17">
                  <c:v>237.05365900000001</c:v>
                </c:pt>
                <c:pt idx="18">
                  <c:v>244.96121499999998</c:v>
                </c:pt>
                <c:pt idx="19">
                  <c:v>231.51038199999999</c:v>
                </c:pt>
                <c:pt idx="20">
                  <c:v>249.29174500000002</c:v>
                </c:pt>
                <c:pt idx="21">
                  <c:v>244.44307999999998</c:v>
                </c:pt>
                <c:pt idx="22">
                  <c:v>302.90636499999999</c:v>
                </c:pt>
                <c:pt idx="23">
                  <c:v>180.20886400000001</c:v>
                </c:pt>
                <c:pt idx="24">
                  <c:v>195.48743300000001</c:v>
                </c:pt>
                <c:pt idx="25">
                  <c:v>207.00366600000001</c:v>
                </c:pt>
                <c:pt idx="26">
                  <c:v>214.99860100000001</c:v>
                </c:pt>
                <c:pt idx="27">
                  <c:v>228.29747700000001</c:v>
                </c:pt>
                <c:pt idx="28">
                  <c:v>222.25973999999999</c:v>
                </c:pt>
                <c:pt idx="29">
                  <c:v>241.41934899999998</c:v>
                </c:pt>
                <c:pt idx="30">
                  <c:v>255.18657299999998</c:v>
                </c:pt>
                <c:pt idx="31">
                  <c:v>235.70449399999998</c:v>
                </c:pt>
                <c:pt idx="32">
                  <c:v>265.84487999999999</c:v>
                </c:pt>
                <c:pt idx="33">
                  <c:v>260.74820199999999</c:v>
                </c:pt>
                <c:pt idx="34">
                  <c:v>305.30547899999999</c:v>
                </c:pt>
              </c:numCache>
            </c:numRef>
          </c:val>
          <c:smooth val="0"/>
          <c:extLst>
            <c:ext xmlns:c16="http://schemas.microsoft.com/office/drawing/2014/chart" uri="{C3380CC4-5D6E-409C-BE32-E72D297353CC}">
              <c16:uniqueId val="{00000000-A582-417D-A5F8-2A0075530F50}"/>
            </c:ext>
          </c:extLst>
        </c:ser>
        <c:dLbls>
          <c:showLegendKey val="0"/>
          <c:showVal val="0"/>
          <c:showCatName val="0"/>
          <c:showSerName val="0"/>
          <c:showPercent val="0"/>
          <c:showBubbleSize val="0"/>
        </c:dLbls>
        <c:marker val="1"/>
        <c:smooth val="0"/>
        <c:axId val="1624167016"/>
        <c:axId val="1624169640"/>
      </c:lineChart>
      <c:catAx>
        <c:axId val="1624167016"/>
        <c:scaling>
          <c:orientation val="minMax"/>
        </c:scaling>
        <c:delete val="0"/>
        <c:axPos val="b"/>
        <c:numFmt formatCode="General" sourceLinked="1"/>
        <c:majorTickMark val="none"/>
        <c:minorTickMark val="none"/>
        <c:tickLblPos val="nextTo"/>
        <c:spPr>
          <a:noFill/>
          <a:ln w="9525" cap="flat" cmpd="sng" algn="ctr">
            <a:noFill/>
            <a:prstDash val="solid"/>
            <a:round/>
          </a:ln>
          <a:effectLst/>
        </c:spPr>
        <c:txPr>
          <a:bodyPr rot="0" spcFirstLastPara="1" vertOverflow="ellipsis" wrap="square" anchor="ctr" anchorCtr="1"/>
          <a:lstStyle/>
          <a:p>
            <a:pPr algn="ctr">
              <a:defRPr lang="en-US" sz="800" b="0" i="0" u="none" strike="noStrike" kern="1200" baseline="0">
                <a:solidFill>
                  <a:schemeClr val="tx1"/>
                </a:solidFill>
                <a:latin typeface="+mj-lt"/>
                <a:ea typeface="+mn-ea"/>
                <a:cs typeface="+mn-cs"/>
              </a:defRPr>
            </a:pPr>
            <a:endParaRPr lang="en-CH"/>
          </a:p>
        </c:txPr>
        <c:crossAx val="1624169640"/>
        <c:crosses val="autoZero"/>
        <c:auto val="1"/>
        <c:lblAlgn val="ctr"/>
        <c:lblOffset val="100"/>
        <c:tickLblSkip val="3"/>
        <c:noMultiLvlLbl val="1"/>
      </c:catAx>
      <c:valAx>
        <c:axId val="1624169640"/>
        <c:scaling>
          <c:orientation val="minMax"/>
        </c:scaling>
        <c:delete val="0"/>
        <c:axPos val="l"/>
        <c:numFmt formatCode="#,##0" sourceLinked="0"/>
        <c:majorTickMark val="none"/>
        <c:minorTickMark val="none"/>
        <c:tickLblPos val="nextTo"/>
        <c:spPr>
          <a:noFill/>
          <a:ln w="6350" cap="flat" cmpd="sng" algn="ctr">
            <a:noFill/>
            <a:prstDash val="solid"/>
            <a:round/>
          </a:ln>
          <a:effectLst/>
        </c:spPr>
        <c:txPr>
          <a:bodyPr rot="-60000000" spcFirstLastPara="1" vertOverflow="ellipsis" vert="horz" wrap="square" anchor="ctr" anchorCtr="1"/>
          <a:lstStyle/>
          <a:p>
            <a:pP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crossAx val="1624167016"/>
        <c:crosses val="autoZero"/>
        <c:crossBetween val="between"/>
      </c:valAx>
      <c:spPr>
        <a:noFill/>
        <a:ln>
          <a:noFill/>
        </a:ln>
        <a:effectLst/>
      </c:spPr>
    </c:plotArea>
    <c:legend>
      <c:legendPos val="b"/>
      <c:layout>
        <c:manualLayout>
          <c:xMode val="edge"/>
          <c:yMode val="edge"/>
          <c:x val="7.3660685603241294E-2"/>
          <c:y val="0.81729018208272031"/>
          <c:w val="0.90289148980965561"/>
          <c:h val="0.13936961130964612"/>
        </c:manualLayout>
      </c:layout>
      <c:overlay val="0"/>
      <c:spPr>
        <a:noFill/>
        <a:ln>
          <a:noFill/>
        </a:ln>
        <a:effectLst/>
      </c:spPr>
      <c:txPr>
        <a:bodyPr rot="0" spcFirstLastPara="1" vertOverflow="ellipsis" vert="horz" wrap="square" anchor="ctr" anchorCtr="0"/>
        <a:lstStyle/>
        <a:p>
          <a:pPr algn="ctr">
            <a:defRPr lang="en-US" sz="800" b="0" i="0" u="none" strike="noStrike" kern="1200" baseline="0">
              <a:solidFill>
                <a:schemeClr val="tx1"/>
              </a:solidFill>
              <a:latin typeface="+mn-lt"/>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6350" cap="flat" cmpd="sng" algn="ctr">
      <a:noFill/>
      <a:prstDash val="solid"/>
      <a:miter lim="800000"/>
    </a:ln>
    <a:effectLst/>
  </c:spPr>
  <c:txPr>
    <a:bodyPr/>
    <a:lstStyle/>
    <a:p>
      <a:pPr algn="ctr">
        <a:defRPr lang="en-US" sz="900" b="0" i="0" u="none" strike="noStrike" kern="120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Total Category</c:v>
                </c:pt>
                <c:pt idx="1">
                  <c:v>Fish: Seafood</c:v>
                </c:pt>
                <c:pt idx="2">
                  <c:v>Fish: Fillets</c:v>
                </c:pt>
                <c:pt idx="3">
                  <c:v>Fish: Fish Fingers</c:v>
                </c:pt>
                <c:pt idx="4">
                  <c:v>Fish: Coated Fish</c:v>
                </c:pt>
                <c:pt idx="5">
                  <c:v>Fish: Fish Recipes</c:v>
                </c:pt>
              </c:strCache>
            </c:strRef>
          </c:cat>
          <c:val>
            <c:numRef>
              <c:f>Sheet1!$B$2:$B$7</c:f>
              <c:numCache>
                <c:formatCode>General</c:formatCode>
                <c:ptCount val="6"/>
                <c:pt idx="0">
                  <c:v>1171394.5930000001</c:v>
                </c:pt>
                <c:pt idx="1">
                  <c:v>456763.592</c:v>
                </c:pt>
                <c:pt idx="2">
                  <c:v>332420.02299999999</c:v>
                </c:pt>
                <c:pt idx="3">
                  <c:v>143546.49799999999</c:v>
                </c:pt>
                <c:pt idx="4">
                  <c:v>124834.65700000001</c:v>
                </c:pt>
                <c:pt idx="5">
                  <c:v>75299.873999999996</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Total Category</c:v>
                </c:pt>
                <c:pt idx="1">
                  <c:v>Fish: Seafood</c:v>
                </c:pt>
                <c:pt idx="2">
                  <c:v>Fish: Fillets</c:v>
                </c:pt>
                <c:pt idx="3">
                  <c:v>Fish: Fish Fingers</c:v>
                </c:pt>
                <c:pt idx="4">
                  <c:v>Fish: Coated Fish</c:v>
                </c:pt>
                <c:pt idx="5">
                  <c:v>Fish: Fish Recipes</c:v>
                </c:pt>
              </c:strCache>
            </c:strRef>
          </c:cat>
          <c:val>
            <c:numRef>
              <c:f>Sheet1!$B$2:$B$7</c:f>
              <c:numCache>
                <c:formatCode>General</c:formatCode>
                <c:ptCount val="6"/>
                <c:pt idx="0">
                  <c:v>1171394.5930000001</c:v>
                </c:pt>
                <c:pt idx="1">
                  <c:v>456763.592</c:v>
                </c:pt>
                <c:pt idx="2">
                  <c:v>332420.02299999999</c:v>
                </c:pt>
                <c:pt idx="3">
                  <c:v>143546.49799999999</c:v>
                </c:pt>
                <c:pt idx="4">
                  <c:v>124834.65700000001</c:v>
                </c:pt>
                <c:pt idx="5">
                  <c:v>75299.873999999996</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Total</c:v>
                </c:pt>
                <c:pt idx="1">
                  <c:v>Retailer 1</c:v>
                </c:pt>
                <c:pt idx="2">
                  <c:v>Retailer 2</c:v>
                </c:pt>
                <c:pt idx="3">
                  <c:v>Retailer 3</c:v>
                </c:pt>
                <c:pt idx="4">
                  <c:v>Retailer 4</c:v>
                </c:pt>
                <c:pt idx="5">
                  <c:v>Retailer 5</c:v>
                </c:pt>
                <c:pt idx="6">
                  <c:v>Retailer 6</c:v>
                </c:pt>
                <c:pt idx="7">
                  <c:v>Retailer 7</c:v>
                </c:pt>
                <c:pt idx="8">
                  <c:v>Retailer 8</c:v>
                </c:pt>
                <c:pt idx="9">
                  <c:v>Retailer 9</c:v>
                </c:pt>
              </c:strCache>
            </c:strRef>
          </c:cat>
          <c:val>
            <c:numRef>
              <c:f>Sheet1!$B$2:$B$11</c:f>
              <c:numCache>
                <c:formatCode>General</c:formatCode>
                <c:ptCount val="10"/>
                <c:pt idx="0">
                  <c:v>1</c:v>
                </c:pt>
                <c:pt idx="1">
                  <c:v>0.18866983719431463</c:v>
                </c:pt>
                <c:pt idx="2">
                  <c:v>0.17219669840637208</c:v>
                </c:pt>
                <c:pt idx="3">
                  <c:v>0.13795490724516815</c:v>
                </c:pt>
                <c:pt idx="4">
                  <c:v>0.11426048756605683</c:v>
                </c:pt>
                <c:pt idx="5">
                  <c:v>0.10900765317166584</c:v>
                </c:pt>
                <c:pt idx="6">
                  <c:v>8.177758254302199E-2</c:v>
                </c:pt>
                <c:pt idx="7">
                  <c:v>7.7815380248631355E-2</c:v>
                </c:pt>
                <c:pt idx="8">
                  <c:v>6.0125786639869297E-2</c:v>
                </c:pt>
                <c:pt idx="9">
                  <c:v>5.8191666984899838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Total</c:v>
                </c:pt>
                <c:pt idx="1">
                  <c:v>Retailer 1</c:v>
                </c:pt>
                <c:pt idx="2">
                  <c:v>Retailer 2</c:v>
                </c:pt>
                <c:pt idx="3">
                  <c:v>Retailer 3</c:v>
                </c:pt>
                <c:pt idx="4">
                  <c:v>Retailer 4</c:v>
                </c:pt>
                <c:pt idx="5">
                  <c:v>Retailer 5</c:v>
                </c:pt>
                <c:pt idx="6">
                  <c:v>Retailer 6</c:v>
                </c:pt>
                <c:pt idx="7">
                  <c:v>Retailer 7</c:v>
                </c:pt>
                <c:pt idx="8">
                  <c:v>Retailer 8</c:v>
                </c:pt>
                <c:pt idx="9">
                  <c:v>Retailer 9</c:v>
                </c:pt>
              </c:strCache>
            </c:strRef>
          </c:cat>
          <c:val>
            <c:numRef>
              <c:f>Sheet1!$B$2:$B$11</c:f>
              <c:numCache>
                <c:formatCode>General</c:formatCode>
                <c:ptCount val="10"/>
                <c:pt idx="0">
                  <c:v>1001</c:v>
                </c:pt>
                <c:pt idx="1">
                  <c:v>188.66983719431462</c:v>
                </c:pt>
                <c:pt idx="2">
                  <c:v>172.19669840637209</c:v>
                </c:pt>
                <c:pt idx="3">
                  <c:v>137.95490724516816</c:v>
                </c:pt>
                <c:pt idx="4">
                  <c:v>114.26048756605684</c:v>
                </c:pt>
                <c:pt idx="5">
                  <c:v>109.00765317166585</c:v>
                </c:pt>
                <c:pt idx="6">
                  <c:v>81.777582543021992</c:v>
                </c:pt>
                <c:pt idx="7">
                  <c:v>77.815380248631357</c:v>
                </c:pt>
                <c:pt idx="8">
                  <c:v>60.125786639869297</c:v>
                </c:pt>
                <c:pt idx="9">
                  <c:v>58.19166698489984</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Total</c:v>
                </c:pt>
                <c:pt idx="1">
                  <c:v>Retailer 1</c:v>
                </c:pt>
                <c:pt idx="2">
                  <c:v>Retailer 2</c:v>
                </c:pt>
                <c:pt idx="3">
                  <c:v>Retailer 3</c:v>
                </c:pt>
                <c:pt idx="4">
                  <c:v>Retailer 4</c:v>
                </c:pt>
                <c:pt idx="5">
                  <c:v>Retailer 5</c:v>
                </c:pt>
                <c:pt idx="6">
                  <c:v>Retailer 6</c:v>
                </c:pt>
                <c:pt idx="7">
                  <c:v>Retailer 7</c:v>
                </c:pt>
                <c:pt idx="8">
                  <c:v>Retailer 8</c:v>
                </c:pt>
                <c:pt idx="9">
                  <c:v>Retailer 9</c:v>
                </c:pt>
              </c:strCache>
            </c:strRef>
          </c:cat>
          <c:val>
            <c:numRef>
              <c:f>Sheet1!$B$2:$B$11</c:f>
              <c:numCache>
                <c:formatCode>General</c:formatCode>
                <c:ptCount val="10"/>
                <c:pt idx="0">
                  <c:v>1000</c:v>
                </c:pt>
                <c:pt idx="1">
                  <c:v>188.66983719431462</c:v>
                </c:pt>
                <c:pt idx="2">
                  <c:v>172.19669840637209</c:v>
                </c:pt>
                <c:pt idx="3">
                  <c:v>137.95490724516816</c:v>
                </c:pt>
                <c:pt idx="4">
                  <c:v>114.26048756605684</c:v>
                </c:pt>
                <c:pt idx="5">
                  <c:v>109.00765317166585</c:v>
                </c:pt>
                <c:pt idx="6">
                  <c:v>81.777582543021992</c:v>
                </c:pt>
                <c:pt idx="7">
                  <c:v>77.815380248631357</c:v>
                </c:pt>
                <c:pt idx="8">
                  <c:v>60.125786639869297</c:v>
                </c:pt>
                <c:pt idx="9">
                  <c:v>58.19166698489984</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rgbClr val="AEABAB"/>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rgbClr val="A6A6A6"/>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rgbClr val="9B9898"/>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rgbClr val="7F7F7F"/>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rgbClr val="575555"/>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Value Share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1-2960-4508-BA80-9CD1D30EF006}"/>
              </c:ext>
            </c:extLst>
          </c:dPt>
          <c:dPt>
            <c:idx val="1"/>
            <c:invertIfNegative val="1"/>
            <c:bubble3D val="0"/>
            <c:extLst>
              <c:ext xmlns:c16="http://schemas.microsoft.com/office/drawing/2014/chart" uri="{C3380CC4-5D6E-409C-BE32-E72D297353CC}">
                <c16:uniqueId val="{00000003-A2FA-4046-9F96-F8B0F3C1321B}"/>
              </c:ext>
            </c:extLst>
          </c:dPt>
          <c:dPt>
            <c:idx val="2"/>
            <c:invertIfNegative val="1"/>
            <c:bubble3D val="0"/>
            <c:extLst>
              <c:ext xmlns:c16="http://schemas.microsoft.com/office/drawing/2014/chart" uri="{C3380CC4-5D6E-409C-BE32-E72D297353CC}">
                <c16:uniqueId val="{00000005-A2FA-4046-9F96-F8B0F3C1321B}"/>
              </c:ext>
            </c:extLst>
          </c:dPt>
          <c:dPt>
            <c:idx val="3"/>
            <c:invertIfNegative val="1"/>
            <c:bubble3D val="0"/>
            <c:extLst>
              <c:ext xmlns:c16="http://schemas.microsoft.com/office/drawing/2014/chart" uri="{C3380CC4-5D6E-409C-BE32-E72D297353CC}">
                <c16:uniqueId val="{00000002-2960-4508-BA80-9CD1D30EF006}"/>
              </c:ext>
            </c:extLst>
          </c:dPt>
          <c:dPt>
            <c:idx val="4"/>
            <c:invertIfNegative val="1"/>
            <c:bubble3D val="0"/>
            <c:extLst>
              <c:ext xmlns:c16="http://schemas.microsoft.com/office/drawing/2014/chart" uri="{C3380CC4-5D6E-409C-BE32-E72D297353CC}">
                <c16:uniqueId val="{00000009-A2FA-4046-9F96-F8B0F3C1321B}"/>
              </c:ext>
            </c:extLst>
          </c:dPt>
          <c:dPt>
            <c:idx val="5"/>
            <c:invertIfNegative val="1"/>
            <c:bubble3D val="0"/>
            <c:extLst>
              <c:ext xmlns:c16="http://schemas.microsoft.com/office/drawing/2014/chart" uri="{C3380CC4-5D6E-409C-BE32-E72D297353CC}">
                <c16:uniqueId val="{0000000B-A2FA-4046-9F96-F8B0F3C1321B}"/>
              </c:ext>
            </c:extLst>
          </c:dPt>
          <c:dPt>
            <c:idx val="6"/>
            <c:invertIfNegative val="1"/>
            <c:bubble3D val="0"/>
            <c:extLst>
              <c:ext xmlns:c16="http://schemas.microsoft.com/office/drawing/2014/chart" uri="{C3380CC4-5D6E-409C-BE32-E72D297353CC}">
                <c16:uniqueId val="{0000000D-A2FA-4046-9F96-F8B0F3C1321B}"/>
              </c:ext>
            </c:extLst>
          </c:dPt>
          <c:dPt>
            <c:idx val="7"/>
            <c:invertIfNegative val="1"/>
            <c:bubble3D val="0"/>
            <c:extLst>
              <c:ext xmlns:c16="http://schemas.microsoft.com/office/drawing/2014/chart" uri="{C3380CC4-5D6E-409C-BE32-E72D297353CC}">
                <c16:uniqueId val="{00000000-2960-4508-BA80-9CD1D30EF006}"/>
              </c:ext>
            </c:extLst>
          </c:dPt>
          <c:dPt>
            <c:idx val="8"/>
            <c:invertIfNegative val="1"/>
            <c:bubble3D val="0"/>
            <c:extLst>
              <c:ext xmlns:c16="http://schemas.microsoft.com/office/drawing/2014/chart" uri="{C3380CC4-5D6E-409C-BE32-E72D297353CC}">
                <c16:uniqueId val="{00000011-A2FA-4046-9F96-F8B0F3C1321B}"/>
              </c:ext>
            </c:extLst>
          </c:dPt>
          <c:dPt>
            <c:idx val="9"/>
            <c:invertIfNegative val="1"/>
            <c:bubble3D val="0"/>
            <c:extLst>
              <c:ext xmlns:c16="http://schemas.microsoft.com/office/drawing/2014/chart" uri="{C3380CC4-5D6E-409C-BE32-E72D297353CC}">
                <c16:uniqueId val="{00000013-A2FA-4046-9F96-F8B0F3C1321B}"/>
              </c:ext>
            </c:extLst>
          </c:dPt>
          <c:dPt>
            <c:idx val="10"/>
            <c:invertIfNegative val="1"/>
            <c:bubble3D val="0"/>
            <c:extLst>
              <c:ext xmlns:c16="http://schemas.microsoft.com/office/drawing/2014/chart" uri="{C3380CC4-5D6E-409C-BE32-E72D297353CC}">
                <c16:uniqueId val="{00000015-A2FA-4046-9F96-F8B0F3C1321B}"/>
              </c:ext>
            </c:extLst>
          </c:dPt>
          <c:dPt>
            <c:idx val="11"/>
            <c:invertIfNegative val="1"/>
            <c:bubble3D val="0"/>
            <c:extLst>
              <c:ext xmlns:c16="http://schemas.microsoft.com/office/drawing/2014/chart" uri="{C3380CC4-5D6E-409C-BE32-E72D297353CC}">
                <c16:uniqueId val="{00000017-A2FA-4046-9F96-F8B0F3C1321B}"/>
              </c:ext>
            </c:extLst>
          </c:dPt>
          <c:dPt>
            <c:idx val="12"/>
            <c:invertIfNegative val="1"/>
            <c:bubble3D val="0"/>
            <c:extLst>
              <c:ext xmlns:c16="http://schemas.microsoft.com/office/drawing/2014/chart" uri="{C3380CC4-5D6E-409C-BE32-E72D297353CC}">
                <c16:uniqueId val="{00000019-A2FA-4046-9F96-F8B0F3C1321B}"/>
              </c:ext>
            </c:extLst>
          </c:dPt>
          <c:dPt>
            <c:idx val="13"/>
            <c:invertIfNegative val="1"/>
            <c:bubble3D val="0"/>
            <c:extLst>
              <c:ext xmlns:c16="http://schemas.microsoft.com/office/drawing/2014/chart" uri="{C3380CC4-5D6E-409C-BE32-E72D297353CC}">
                <c16:uniqueId val="{0000001B-A2FA-4046-9F96-F8B0F3C1321B}"/>
              </c:ext>
            </c:extLst>
          </c:dPt>
          <c:dPt>
            <c:idx val="14"/>
            <c:invertIfNegative val="1"/>
            <c:bubble3D val="0"/>
            <c:extLst>
              <c:ext xmlns:c16="http://schemas.microsoft.com/office/drawing/2014/chart" uri="{C3380CC4-5D6E-409C-BE32-E72D297353CC}">
                <c16:uniqueId val="{0000001D-A2FA-4046-9F96-F8B0F3C1321B}"/>
              </c:ext>
            </c:extLst>
          </c:dPt>
          <c:dPt>
            <c:idx val="15"/>
            <c:invertIfNegative val="1"/>
            <c:bubble3D val="0"/>
            <c:extLst>
              <c:ext xmlns:c16="http://schemas.microsoft.com/office/drawing/2014/chart" uri="{C3380CC4-5D6E-409C-BE32-E72D297353CC}">
                <c16:uniqueId val="{0000001F-A2FA-4046-9F96-F8B0F3C1321B}"/>
              </c:ext>
            </c:extLst>
          </c:dPt>
          <c:dPt>
            <c:idx val="16"/>
            <c:invertIfNegative val="1"/>
            <c:bubble3D val="0"/>
            <c:extLst>
              <c:ext xmlns:c16="http://schemas.microsoft.com/office/drawing/2014/chart" uri="{C3380CC4-5D6E-409C-BE32-E72D297353CC}">
                <c16:uniqueId val="{00000021-A2FA-4046-9F96-F8B0F3C1321B}"/>
              </c:ext>
            </c:extLst>
          </c:dPt>
          <c:dLbls>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pt idx="10">
                  <c:v>Diamond Cold Storages Ind</c:v>
                </c:pt>
                <c:pt idx="11">
                  <c:v>Diamond Cold Storages Ind</c:v>
                </c:pt>
                <c:pt idx="12">
                  <c:v>Diamond Cold Storages Ind</c:v>
                </c:pt>
                <c:pt idx="13">
                  <c:v>Diamond Cold Storages Ind</c:v>
                </c:pt>
                <c:pt idx="14">
                  <c:v>Diamond Cold Storages Ind</c:v>
                </c:pt>
                <c:pt idx="15">
                  <c:v>Diamond Cold Storages Ind</c:v>
                </c:pt>
                <c:pt idx="16">
                  <c:v>Diamond Cold Storages Ind</c:v>
                </c:pt>
              </c:strCache>
            </c:strRef>
          </c:cat>
          <c:val>
            <c:numRef>
              <c:f>Sheet1!$B$2:$B$18</c:f>
              <c:numCache>
                <c:formatCode>General</c:formatCode>
                <c:ptCount val="17"/>
                <c:pt idx="0">
                  <c:v>4.3963721752899247E-2</c:v>
                </c:pt>
                <c:pt idx="1">
                  <c:v>-1.3505147753811911E-2</c:v>
                </c:pt>
                <c:pt idx="2">
                  <c:v>-1.1798738906629689E-2</c:v>
                </c:pt>
                <c:pt idx="3">
                  <c:v>5.7473706542454719E-3</c:v>
                </c:pt>
                <c:pt idx="4">
                  <c:v>-4.0835263114836762E-3</c:v>
                </c:pt>
                <c:pt idx="5">
                  <c:v>-4.8005983565216348E-4</c:v>
                </c:pt>
                <c:pt idx="6">
                  <c:v>-3.6926813782243301E-4</c:v>
                </c:pt>
                <c:pt idx="7">
                  <c:v>7.4368992972028078E-3</c:v>
                </c:pt>
                <c:pt idx="8">
                  <c:v>-4.1499366074146567E-3</c:v>
                </c:pt>
                <c:pt idx="9">
                  <c:v>-9.0259278490056882E-4</c:v>
                </c:pt>
                <c:pt idx="10">
                  <c:v>-4.1499366074146567E-3</c:v>
                </c:pt>
                <c:pt idx="11">
                  <c:v>-4.1499366074146567E-3</c:v>
                </c:pt>
                <c:pt idx="12">
                  <c:v>-4.1499366074146567E-3</c:v>
                </c:pt>
                <c:pt idx="13">
                  <c:v>-4.1499366074146567E-3</c:v>
                </c:pt>
                <c:pt idx="14">
                  <c:v>-4.1499366074146567E-3</c:v>
                </c:pt>
                <c:pt idx="15">
                  <c:v>-4.1499366074146567E-3</c:v>
                </c:pt>
                <c:pt idx="16">
                  <c:v>-4.1499366074146567E-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Value Share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0-DCEF-4AAE-B747-39856A6177F4}"/>
              </c:ext>
            </c:extLst>
          </c:dPt>
          <c:dPt>
            <c:idx val="1"/>
            <c:invertIfNegative val="1"/>
            <c:bubble3D val="0"/>
            <c:extLst>
              <c:ext xmlns:c16="http://schemas.microsoft.com/office/drawing/2014/chart" uri="{C3380CC4-5D6E-409C-BE32-E72D297353CC}">
                <c16:uniqueId val="{00000003-ECF2-4774-A9B3-59BCC6837E98}"/>
              </c:ext>
            </c:extLst>
          </c:dPt>
          <c:dPt>
            <c:idx val="2"/>
            <c:invertIfNegative val="1"/>
            <c:bubble3D val="0"/>
            <c:extLst>
              <c:ext xmlns:c16="http://schemas.microsoft.com/office/drawing/2014/chart" uri="{C3380CC4-5D6E-409C-BE32-E72D297353CC}">
                <c16:uniqueId val="{00000005-ECF2-4774-A9B3-59BCC6837E98}"/>
              </c:ext>
            </c:extLst>
          </c:dPt>
          <c:dPt>
            <c:idx val="3"/>
            <c:invertIfNegative val="1"/>
            <c:bubble3D val="0"/>
            <c:extLst>
              <c:ext xmlns:c16="http://schemas.microsoft.com/office/drawing/2014/chart" uri="{C3380CC4-5D6E-409C-BE32-E72D297353CC}">
                <c16:uniqueId val="{00000001-DCEF-4AAE-B747-39856A6177F4}"/>
              </c:ext>
            </c:extLst>
          </c:dPt>
          <c:dPt>
            <c:idx val="4"/>
            <c:invertIfNegative val="1"/>
            <c:bubble3D val="0"/>
            <c:extLst>
              <c:ext xmlns:c16="http://schemas.microsoft.com/office/drawing/2014/chart" uri="{C3380CC4-5D6E-409C-BE32-E72D297353CC}">
                <c16:uniqueId val="{00000009-ECF2-4774-A9B3-59BCC6837E98}"/>
              </c:ext>
            </c:extLst>
          </c:dPt>
          <c:dPt>
            <c:idx val="5"/>
            <c:invertIfNegative val="1"/>
            <c:bubble3D val="0"/>
            <c:extLst>
              <c:ext xmlns:c16="http://schemas.microsoft.com/office/drawing/2014/chart" uri="{C3380CC4-5D6E-409C-BE32-E72D297353CC}">
                <c16:uniqueId val="{0000000B-ECF2-4774-A9B3-59BCC6837E98}"/>
              </c:ext>
            </c:extLst>
          </c:dPt>
          <c:dPt>
            <c:idx val="6"/>
            <c:invertIfNegative val="1"/>
            <c:bubble3D val="0"/>
            <c:extLst>
              <c:ext xmlns:c16="http://schemas.microsoft.com/office/drawing/2014/chart" uri="{C3380CC4-5D6E-409C-BE32-E72D297353CC}">
                <c16:uniqueId val="{0000000D-ECF2-4774-A9B3-59BCC6837E98}"/>
              </c:ext>
            </c:extLst>
          </c:dPt>
          <c:dPt>
            <c:idx val="7"/>
            <c:invertIfNegative val="1"/>
            <c:bubble3D val="0"/>
            <c:extLst>
              <c:ext xmlns:c16="http://schemas.microsoft.com/office/drawing/2014/chart" uri="{C3380CC4-5D6E-409C-BE32-E72D297353CC}">
                <c16:uniqueId val="{00000002-DCEF-4AAE-B747-39856A6177F4}"/>
              </c:ext>
            </c:extLst>
          </c:dPt>
          <c:dPt>
            <c:idx val="8"/>
            <c:invertIfNegative val="1"/>
            <c:bubble3D val="0"/>
            <c:extLst>
              <c:ext xmlns:c16="http://schemas.microsoft.com/office/drawing/2014/chart" uri="{C3380CC4-5D6E-409C-BE32-E72D297353CC}">
                <c16:uniqueId val="{00000011-ECF2-4774-A9B3-59BCC6837E98}"/>
              </c:ext>
            </c:extLst>
          </c:dPt>
          <c:dPt>
            <c:idx val="9"/>
            <c:invertIfNegative val="1"/>
            <c:bubble3D val="0"/>
            <c:extLst>
              <c:ext xmlns:c16="http://schemas.microsoft.com/office/drawing/2014/chart" uri="{C3380CC4-5D6E-409C-BE32-E72D297353CC}">
                <c16:uniqueId val="{00000013-ECF2-4774-A9B3-59BCC6837E98}"/>
              </c:ext>
            </c:extLst>
          </c:dPt>
          <c:dPt>
            <c:idx val="10"/>
            <c:invertIfNegative val="1"/>
            <c:bubble3D val="0"/>
            <c:extLst>
              <c:ext xmlns:c16="http://schemas.microsoft.com/office/drawing/2014/chart" uri="{C3380CC4-5D6E-409C-BE32-E72D297353CC}">
                <c16:uniqueId val="{00000015-ECF2-4774-A9B3-59BCC6837E98}"/>
              </c:ext>
            </c:extLst>
          </c:dPt>
          <c:dPt>
            <c:idx val="11"/>
            <c:invertIfNegative val="1"/>
            <c:bubble3D val="0"/>
            <c:extLst>
              <c:ext xmlns:c16="http://schemas.microsoft.com/office/drawing/2014/chart" uri="{C3380CC4-5D6E-409C-BE32-E72D297353CC}">
                <c16:uniqueId val="{00000017-ECF2-4774-A9B3-59BCC6837E98}"/>
              </c:ext>
            </c:extLst>
          </c:dPt>
          <c:dPt>
            <c:idx val="12"/>
            <c:invertIfNegative val="1"/>
            <c:bubble3D val="0"/>
            <c:extLst>
              <c:ext xmlns:c16="http://schemas.microsoft.com/office/drawing/2014/chart" uri="{C3380CC4-5D6E-409C-BE32-E72D297353CC}">
                <c16:uniqueId val="{00000019-ECF2-4774-A9B3-59BCC6837E98}"/>
              </c:ext>
            </c:extLst>
          </c:dPt>
          <c:dPt>
            <c:idx val="13"/>
            <c:invertIfNegative val="1"/>
            <c:bubble3D val="0"/>
            <c:extLst>
              <c:ext xmlns:c16="http://schemas.microsoft.com/office/drawing/2014/chart" uri="{C3380CC4-5D6E-409C-BE32-E72D297353CC}">
                <c16:uniqueId val="{0000001B-ECF2-4774-A9B3-59BCC6837E98}"/>
              </c:ext>
            </c:extLst>
          </c:dPt>
          <c:dPt>
            <c:idx val="14"/>
            <c:invertIfNegative val="1"/>
            <c:bubble3D val="0"/>
            <c:extLst>
              <c:ext xmlns:c16="http://schemas.microsoft.com/office/drawing/2014/chart" uri="{C3380CC4-5D6E-409C-BE32-E72D297353CC}">
                <c16:uniqueId val="{0000001D-ECF2-4774-A9B3-59BCC6837E98}"/>
              </c:ext>
            </c:extLst>
          </c:dPt>
          <c:dPt>
            <c:idx val="15"/>
            <c:invertIfNegative val="1"/>
            <c:bubble3D val="0"/>
            <c:extLst>
              <c:ext xmlns:c16="http://schemas.microsoft.com/office/drawing/2014/chart" uri="{C3380CC4-5D6E-409C-BE32-E72D297353CC}">
                <c16:uniqueId val="{0000001F-ECF2-4774-A9B3-59BCC6837E98}"/>
              </c:ext>
            </c:extLst>
          </c:dPt>
          <c:dPt>
            <c:idx val="16"/>
            <c:invertIfNegative val="1"/>
            <c:bubble3D val="0"/>
            <c:extLst>
              <c:ext xmlns:c16="http://schemas.microsoft.com/office/drawing/2014/chart" uri="{C3380CC4-5D6E-409C-BE32-E72D297353CC}">
                <c16:uniqueId val="{00000021-ECF2-4774-A9B3-59BCC6837E98}"/>
              </c:ext>
            </c:extLst>
          </c:dPt>
          <c:dLbls>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pt idx="10">
                  <c:v>Diamond Cold Storages Ind</c:v>
                </c:pt>
                <c:pt idx="11">
                  <c:v>Diamond Cold Storages Ind</c:v>
                </c:pt>
                <c:pt idx="12">
                  <c:v>Diamond Cold Storages Ind</c:v>
                </c:pt>
                <c:pt idx="13">
                  <c:v>Diamond Cold Storages Ind</c:v>
                </c:pt>
                <c:pt idx="14">
                  <c:v>Diamond Cold Storages Ind</c:v>
                </c:pt>
                <c:pt idx="15">
                  <c:v>Diamond Cold Storages Ind</c:v>
                </c:pt>
                <c:pt idx="16">
                  <c:v>Diamond Cold Storages Ind</c:v>
                </c:pt>
              </c:strCache>
            </c:strRef>
          </c:cat>
          <c:val>
            <c:numRef>
              <c:f>Sheet1!$B$2:$B$18</c:f>
              <c:numCache>
                <c:formatCode>General</c:formatCode>
                <c:ptCount val="17"/>
                <c:pt idx="0">
                  <c:v>5.3963721752899201E-2</c:v>
                </c:pt>
                <c:pt idx="1">
                  <c:v>-1.3505147753811911E-2</c:v>
                </c:pt>
                <c:pt idx="2">
                  <c:v>-1.1798738906629689E-2</c:v>
                </c:pt>
                <c:pt idx="3">
                  <c:v>5.7473706542454719E-3</c:v>
                </c:pt>
                <c:pt idx="4">
                  <c:v>-4.0835263114836762E-3</c:v>
                </c:pt>
                <c:pt idx="5">
                  <c:v>-4.8005983565216348E-4</c:v>
                </c:pt>
                <c:pt idx="6">
                  <c:v>-3.6926813782243301E-4</c:v>
                </c:pt>
                <c:pt idx="7">
                  <c:v>7.4368992972028078E-3</c:v>
                </c:pt>
                <c:pt idx="8">
                  <c:v>-4.1499366074146567E-3</c:v>
                </c:pt>
                <c:pt idx="9">
                  <c:v>-9.0259278490056882E-4</c:v>
                </c:pt>
                <c:pt idx="10">
                  <c:v>-4.1499366074146567E-3</c:v>
                </c:pt>
                <c:pt idx="11">
                  <c:v>-4.1499366074146567E-3</c:v>
                </c:pt>
                <c:pt idx="12">
                  <c:v>-4.1499366074146567E-3</c:v>
                </c:pt>
                <c:pt idx="13">
                  <c:v>-4.1499366074146567E-3</c:v>
                </c:pt>
                <c:pt idx="14">
                  <c:v>-4.1499366074146567E-3</c:v>
                </c:pt>
                <c:pt idx="15">
                  <c:v>-4.1499366074146567E-3</c:v>
                </c:pt>
                <c:pt idx="16">
                  <c:v>-4.1499366074146567E-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374238658678002E-2"/>
          <c:y val="3.5678372632186241E-2"/>
          <c:w val="0.92883189647221065"/>
          <c:h val="0.87708287481703862"/>
        </c:manualLayout>
      </c:layout>
      <c:bubbleChart>
        <c:varyColors val="0"/>
        <c:ser>
          <c:idx val="0"/>
          <c:order val="0"/>
          <c:tx>
            <c:strRef>
              <c:f>Sheet1!$B$1</c:f>
              <c:strCache>
                <c:ptCount val="1"/>
                <c:pt idx="0">
                  <c:v>Y-Values</c:v>
                </c:pt>
              </c:strCache>
            </c:strRef>
          </c:tx>
          <c:spPr>
            <a:solidFill>
              <a:schemeClr val="bg1"/>
            </a:solidFill>
            <a:ln w="3175">
              <a:solidFill>
                <a:schemeClr val="tx2"/>
              </a:solidFill>
            </a:ln>
            <a:effectLst/>
          </c:spPr>
          <c:invertIfNegative val="0"/>
          <c:dPt>
            <c:idx val="2"/>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2-C625-D64F-9EE6-A56E35D3C48D}"/>
              </c:ext>
            </c:extLst>
          </c:dPt>
          <c:dPt>
            <c:idx val="3"/>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3-C625-D64F-9EE6-A56E35D3C48D}"/>
              </c:ext>
            </c:extLst>
          </c:dPt>
          <c:dLbls>
            <c:dLbl>
              <c:idx val="0"/>
              <c:tx>
                <c:rich>
                  <a:bodyPr/>
                  <a:lstStyle/>
                  <a:p>
                    <a:fld id="{B53CCA48-01DC-419C-AC59-18680BCA28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625-D64F-9EE6-A56E35D3C48D}"/>
                </c:ext>
              </c:extLst>
            </c:dLbl>
            <c:dLbl>
              <c:idx val="1"/>
              <c:tx>
                <c:rich>
                  <a:bodyPr/>
                  <a:lstStyle/>
                  <a:p>
                    <a:fld id="{66934145-247B-4E72-8A7C-581869B788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25-D64F-9EE6-A56E35D3C48D}"/>
                </c:ext>
              </c:extLst>
            </c:dLbl>
            <c:dLbl>
              <c:idx val="2"/>
              <c:tx>
                <c:rich>
                  <a:bodyPr/>
                  <a:lstStyle/>
                  <a:p>
                    <a:fld id="{4E15217B-35C8-4E26-99F7-27D4D603CF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25-D64F-9EE6-A56E35D3C48D}"/>
                </c:ext>
              </c:extLst>
            </c:dLbl>
            <c:dLbl>
              <c:idx val="3"/>
              <c:tx>
                <c:rich>
                  <a:bodyPr/>
                  <a:lstStyle/>
                  <a:p>
                    <a:fld id="{B7E06365-D20E-4FB6-A315-2E0C51AE1B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25-D64F-9EE6-A56E35D3C48D}"/>
                </c:ext>
              </c:extLst>
            </c:dLbl>
            <c:dLbl>
              <c:idx val="4"/>
              <c:tx>
                <c:rich>
                  <a:bodyPr/>
                  <a:lstStyle/>
                  <a:p>
                    <a:fld id="{EC78A461-3608-47C4-88B9-963D5EAB9D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2B3-43D4-BD21-895ACA67225E}"/>
                </c:ext>
              </c:extLst>
            </c:dLbl>
            <c:dLbl>
              <c:idx val="5"/>
              <c:tx>
                <c:rich>
                  <a:bodyPr/>
                  <a:lstStyle/>
                  <a:p>
                    <a:fld id="{140A08A9-A84F-4266-8A29-B74E7F169E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2B3-43D4-BD21-895ACA67225E}"/>
                </c:ext>
              </c:extLst>
            </c:dLbl>
            <c:dLbl>
              <c:idx val="6"/>
              <c:tx>
                <c:rich>
                  <a:bodyPr/>
                  <a:lstStyle/>
                  <a:p>
                    <a:fld id="{ADFBEAB2-4F29-4903-8221-22FD2B08D5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2B3-43D4-BD21-895ACA67225E}"/>
                </c:ext>
              </c:extLst>
            </c:dLbl>
            <c:dLbl>
              <c:idx val="7"/>
              <c:tx>
                <c:rich>
                  <a:bodyPr/>
                  <a:lstStyle/>
                  <a:p>
                    <a:fld id="{D24BF4CC-0A04-4EBD-8308-538D2A1039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2B3-43D4-BD21-895ACA67225E}"/>
                </c:ext>
              </c:extLst>
            </c:dLbl>
            <c:dLbl>
              <c:idx val="8"/>
              <c:tx>
                <c:rich>
                  <a:bodyPr/>
                  <a:lstStyle/>
                  <a:p>
                    <a:fld id="{3001473E-3E46-4B27-A3D3-0C36BD66E0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2B3-43D4-BD21-895ACA67225E}"/>
                </c:ext>
              </c:extLst>
            </c:dLbl>
            <c:dLbl>
              <c:idx val="9"/>
              <c:tx>
                <c:rich>
                  <a:bodyPr/>
                  <a:lstStyle/>
                  <a:p>
                    <a:fld id="{2E489538-6FBE-4506-90DC-D016FD1E0E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2B3-43D4-BD21-895ACA67225E}"/>
                </c:ext>
              </c:extLst>
            </c:dLbl>
            <c:dLbl>
              <c:idx val="10"/>
              <c:tx>
                <c:rich>
                  <a:bodyPr/>
                  <a:lstStyle/>
                  <a:p>
                    <a:fld id="{8EE0547F-0BCF-4C22-96D6-8EAAE16C47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2B3-43D4-BD21-895ACA67225E}"/>
                </c:ext>
              </c:extLst>
            </c:dLbl>
            <c:dLbl>
              <c:idx val="11"/>
              <c:tx>
                <c:rich>
                  <a:bodyPr/>
                  <a:lstStyle/>
                  <a:p>
                    <a:fld id="{FFAE86FF-CF1E-4CEA-9C1B-9534AE4490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2B3-43D4-BD21-895ACA67225E}"/>
                </c:ext>
              </c:extLst>
            </c:dLbl>
            <c:dLbl>
              <c:idx val="12"/>
              <c:tx>
                <c:rich>
                  <a:bodyPr/>
                  <a:lstStyle/>
                  <a:p>
                    <a:fld id="{73C2522A-FB7B-4A8E-9139-A0A8E5C5B6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2B3-43D4-BD21-895ACA67225E}"/>
                </c:ext>
              </c:extLst>
            </c:dLbl>
            <c:dLbl>
              <c:idx val="13"/>
              <c:tx>
                <c:rich>
                  <a:bodyPr/>
                  <a:lstStyle/>
                  <a:p>
                    <a:fld id="{F659FA5E-434C-49BB-97EA-3DA7C0C248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2B3-43D4-BD21-895ACA67225E}"/>
                </c:ext>
              </c:extLst>
            </c:dLbl>
            <c:dLbl>
              <c:idx val="14"/>
              <c:tx>
                <c:rich>
                  <a:bodyPr/>
                  <a:lstStyle/>
                  <a:p>
                    <a:fld id="{1A232B69-0CAC-4BB2-A76F-CE37148B10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2B3-43D4-BD21-895ACA67225E}"/>
                </c:ext>
              </c:extLst>
            </c:dLbl>
            <c:dLbl>
              <c:idx val="15"/>
              <c:tx>
                <c:rich>
                  <a:bodyPr/>
                  <a:lstStyle/>
                  <a:p>
                    <a:fld id="{79045C72-A9E2-4B0E-AB47-B037172282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2B3-43D4-BD21-895ACA67225E}"/>
                </c:ext>
              </c:extLst>
            </c:dLbl>
            <c:dLbl>
              <c:idx val="16"/>
              <c:tx>
                <c:rich>
                  <a:bodyPr/>
                  <a:lstStyle/>
                  <a:p>
                    <a:fld id="{0ABC54E6-673A-4823-8D4E-40F72F20DA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2B3-43D4-BD21-895ACA67225E}"/>
                </c:ext>
              </c:extLst>
            </c:dLbl>
            <c:dLbl>
              <c:idx val="17"/>
              <c:tx>
                <c:rich>
                  <a:bodyPr/>
                  <a:lstStyle/>
                  <a:p>
                    <a:fld id="{D88D0399-9F0C-41F0-AC38-CFD66AE3FB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2B3-43D4-BD21-895ACA67225E}"/>
                </c:ext>
              </c:extLst>
            </c:dLbl>
            <c:dLbl>
              <c:idx val="18"/>
              <c:tx>
                <c:rich>
                  <a:bodyPr/>
                  <a:lstStyle/>
                  <a:p>
                    <a:fld id="{9D154E21-5652-4392-BDE2-AE1DCEB2BA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2B3-43D4-BD21-895ACA67225E}"/>
                </c:ext>
              </c:extLst>
            </c:dLbl>
            <c:dLbl>
              <c:idx val="19"/>
              <c:tx>
                <c:rich>
                  <a:bodyPr/>
                  <a:lstStyle/>
                  <a:p>
                    <a:fld id="{142AF72D-2E27-4399-B761-4C532E4E1A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2B3-43D4-BD21-895ACA67225E}"/>
                </c:ext>
              </c:extLst>
            </c:dLbl>
            <c:dLbl>
              <c:idx val="20"/>
              <c:tx>
                <c:rich>
                  <a:bodyPr/>
                  <a:lstStyle/>
                  <a:p>
                    <a:fld id="{769F9639-8051-4DA1-BC62-A04DA8730A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2B3-43D4-BD21-895ACA67225E}"/>
                </c:ext>
              </c:extLst>
            </c:dLbl>
            <c:dLbl>
              <c:idx val="21"/>
              <c:tx>
                <c:rich>
                  <a:bodyPr/>
                  <a:lstStyle/>
                  <a:p>
                    <a:fld id="{52E93ECF-4E14-4E70-994F-5C04085E56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66A5-42F8-9CB2-D500C2C49522}"/>
                </c:ext>
              </c:extLst>
            </c:dLbl>
            <c:dLbl>
              <c:idx val="22"/>
              <c:tx>
                <c:rich>
                  <a:bodyPr/>
                  <a:lstStyle/>
                  <a:p>
                    <a:fld id="{FE62F141-6A2F-4848-ADBE-9F031B3EC3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6A5-42F8-9CB2-D500C2C49522}"/>
                </c:ext>
              </c:extLst>
            </c:dLbl>
            <c:dLbl>
              <c:idx val="23"/>
              <c:tx>
                <c:rich>
                  <a:bodyPr/>
                  <a:lstStyle/>
                  <a:p>
                    <a:fld id="{032C0ABA-D284-4695-8F47-D8DE0B269F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79-43B7-8A1A-3B973BF29255}"/>
                </c:ext>
              </c:extLst>
            </c:dLbl>
            <c:dLbl>
              <c:idx val="24"/>
              <c:tx>
                <c:rich>
                  <a:bodyPr/>
                  <a:lstStyle/>
                  <a:p>
                    <a:fld id="{817CA2FF-2F7D-4E66-8714-8499FCE6D8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79-43B7-8A1A-3B973BF29255}"/>
                </c:ext>
              </c:extLst>
            </c:dLbl>
            <c:dLbl>
              <c:idx val="25"/>
              <c:tx>
                <c:rich>
                  <a:bodyPr/>
                  <a:lstStyle/>
                  <a:p>
                    <a:fld id="{91903680-55FE-4B49-929E-622568E3E8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79-43B7-8A1A-3B973BF29255}"/>
                </c:ext>
              </c:extLst>
            </c:dLbl>
            <c:dLbl>
              <c:idx val="26"/>
              <c:tx>
                <c:rich>
                  <a:bodyPr/>
                  <a:lstStyle/>
                  <a:p>
                    <a:fld id="{7A32BF8D-1372-477D-9DE3-454B09810A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79-43B7-8A1A-3B973BF29255}"/>
                </c:ext>
              </c:extLst>
            </c:dLbl>
            <c:dLbl>
              <c:idx val="27"/>
              <c:tx>
                <c:rich>
                  <a:bodyPr/>
                  <a:lstStyle/>
                  <a:p>
                    <a:fld id="{08981714-CBF4-4261-838A-7E473D1497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79-43B7-8A1A-3B973BF29255}"/>
                </c:ext>
              </c:extLst>
            </c:dLbl>
            <c:dLbl>
              <c:idx val="28"/>
              <c:tx>
                <c:rich>
                  <a:bodyPr/>
                  <a:lstStyle/>
                  <a:p>
                    <a:fld id="{101F97FF-F3EE-465E-97B0-8EF060F524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FE79-43B7-8A1A-3B973BF29255}"/>
                </c:ext>
              </c:extLst>
            </c:dLbl>
            <c:dLbl>
              <c:idx val="29"/>
              <c:tx>
                <c:rich>
                  <a:bodyPr/>
                  <a:lstStyle/>
                  <a:p>
                    <a:fld id="{AACAD390-51E4-4D53-B68B-7D9DC60320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FE79-43B7-8A1A-3B973BF29255}"/>
                </c:ext>
              </c:extLst>
            </c:dLbl>
            <c:dLbl>
              <c:idx val="30"/>
              <c:tx>
                <c:rich>
                  <a:bodyPr/>
                  <a:lstStyle/>
                  <a:p>
                    <a:fld id="{2478E19D-4843-4AF0-B143-D4B31DCF00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FE79-43B7-8A1A-3B973BF29255}"/>
                </c:ext>
              </c:extLst>
            </c:dLbl>
            <c:dLbl>
              <c:idx val="31"/>
              <c:tx>
                <c:rich>
                  <a:bodyPr/>
                  <a:lstStyle/>
                  <a:p>
                    <a:fld id="{6328D249-1F09-4078-AB33-DEA596FB02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FE79-43B7-8A1A-3B973BF29255}"/>
                </c:ext>
              </c:extLst>
            </c:dLbl>
            <c:dLbl>
              <c:idx val="32"/>
              <c:tx>
                <c:rich>
                  <a:bodyPr/>
                  <a:lstStyle/>
                  <a:p>
                    <a:fld id="{1CC251CB-6FEF-476B-A8AB-111A97E3A8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FE79-43B7-8A1A-3B973BF29255}"/>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34</c:f>
              <c:numCache>
                <c:formatCode>0.0%;\-0.0%;0.0%</c:formatCode>
                <c:ptCount val="33"/>
                <c:pt idx="0">
                  <c:v>1.1662181860086357E-2</c:v>
                </c:pt>
                <c:pt idx="1">
                  <c:v>1.0816439999444288E-2</c:v>
                </c:pt>
                <c:pt idx="2">
                  <c:v>1.7698258327168995E-2</c:v>
                </c:pt>
                <c:pt idx="3">
                  <c:v>-8.7923224759184349E-4</c:v>
                </c:pt>
                <c:pt idx="4">
                  <c:v>-5.6865707332624249E-3</c:v>
                </c:pt>
                <c:pt idx="5">
                  <c:v>2.4985757042278456E-3</c:v>
                </c:pt>
                <c:pt idx="6">
                  <c:v>-3.3819215181130347E-3</c:v>
                </c:pt>
                <c:pt idx="7">
                  <c:v>-8.752621139535316E-3</c:v>
                </c:pt>
                <c:pt idx="8">
                  <c:v>-3.057476414990018E-4</c:v>
                </c:pt>
                <c:pt idx="9">
                  <c:v>-1.0676026102167668E-3</c:v>
                </c:pt>
                <c:pt idx="10">
                  <c:v>8.9592623915902142E-3</c:v>
                </c:pt>
                <c:pt idx="11">
                  <c:v>-7.3357896273603673E-3</c:v>
                </c:pt>
                <c:pt idx="12">
                  <c:v>1.35594851177364E-2</c:v>
                </c:pt>
                <c:pt idx="13">
                  <c:v>7.1177235185152649E-3</c:v>
                </c:pt>
                <c:pt idx="14">
                  <c:v>-8.1083902172321143E-3</c:v>
                </c:pt>
                <c:pt idx="15">
                  <c:v>6.7319320453412823E-4</c:v>
                </c:pt>
                <c:pt idx="16">
                  <c:v>-2.8338471600411336E-3</c:v>
                </c:pt>
                <c:pt idx="17">
                  <c:v>-1.3043768021304969E-3</c:v>
                </c:pt>
                <c:pt idx="18">
                  <c:v>-3.6109732960172974E-3</c:v>
                </c:pt>
                <c:pt idx="19">
                  <c:v>7.8607540923061187E-3</c:v>
                </c:pt>
                <c:pt idx="20">
                  <c:v>-1.3220268089368714E-2</c:v>
                </c:pt>
                <c:pt idx="21">
                  <c:v>3.1281538737684828E-3</c:v>
                </c:pt>
                <c:pt idx="22">
                  <c:v>1.2357208407868935E-2</c:v>
                </c:pt>
                <c:pt idx="23">
                  <c:v>7.1177235185152649E-3</c:v>
                </c:pt>
                <c:pt idx="24">
                  <c:v>-8.1083902172321143E-3</c:v>
                </c:pt>
                <c:pt idx="25">
                  <c:v>6.7319320453412823E-4</c:v>
                </c:pt>
                <c:pt idx="26">
                  <c:v>-2.8338471600411336E-3</c:v>
                </c:pt>
                <c:pt idx="27">
                  <c:v>-1.3043768021304969E-3</c:v>
                </c:pt>
                <c:pt idx="28">
                  <c:v>-3.6109732960172974E-3</c:v>
                </c:pt>
                <c:pt idx="29">
                  <c:v>7.8607540923061187E-3</c:v>
                </c:pt>
                <c:pt idx="30">
                  <c:v>-1.3043768021304969E-3</c:v>
                </c:pt>
                <c:pt idx="31">
                  <c:v>-3.6109732960172974E-3</c:v>
                </c:pt>
                <c:pt idx="32">
                  <c:v>7.8607540923061187E-3</c:v>
                </c:pt>
              </c:numCache>
            </c:numRef>
          </c:xVal>
          <c:yVal>
            <c:numRef>
              <c:f>Sheet1!$B$2:$B$34</c:f>
              <c:numCache>
                <c:formatCode>0.0%;\-0.0%;0.0%</c:formatCode>
                <c:ptCount val="33"/>
                <c:pt idx="0">
                  <c:v>1.6077368263089004E-2</c:v>
                </c:pt>
                <c:pt idx="1">
                  <c:v>4.9888095762964935E-3</c:v>
                </c:pt>
                <c:pt idx="2">
                  <c:v>1.9889894317162454E-2</c:v>
                </c:pt>
                <c:pt idx="3">
                  <c:v>2.3791600338200131E-2</c:v>
                </c:pt>
                <c:pt idx="4">
                  <c:v>-1.5454854750623526E-2</c:v>
                </c:pt>
                <c:pt idx="5">
                  <c:v>-5.6397933119886334E-3</c:v>
                </c:pt>
                <c:pt idx="6">
                  <c:v>-1.593787288957145E-2</c:v>
                </c:pt>
                <c:pt idx="7">
                  <c:v>-1.1812150501305935E-2</c:v>
                </c:pt>
                <c:pt idx="8">
                  <c:v>-1.2009982810354147E-2</c:v>
                </c:pt>
                <c:pt idx="9">
                  <c:v>-1.0909205959135124E-2</c:v>
                </c:pt>
                <c:pt idx="10">
                  <c:v>2.2931981284335864E-2</c:v>
                </c:pt>
                <c:pt idx="11">
                  <c:v>-1.7780339796623496E-3</c:v>
                </c:pt>
                <c:pt idx="12">
                  <c:v>-8.6871564268937995E-4</c:v>
                </c:pt>
                <c:pt idx="13">
                  <c:v>7.4074508528449295E-3</c:v>
                </c:pt>
                <c:pt idx="14">
                  <c:v>-6.445956049093246E-3</c:v>
                </c:pt>
                <c:pt idx="15">
                  <c:v>2.9345873390817095E-3</c:v>
                </c:pt>
                <c:pt idx="16">
                  <c:v>-2.5033423847073549E-3</c:v>
                </c:pt>
                <c:pt idx="17">
                  <c:v>9.5200088515108167E-3</c:v>
                </c:pt>
                <c:pt idx="18">
                  <c:v>9.9891916816288451E-3</c:v>
                </c:pt>
                <c:pt idx="19">
                  <c:v>9.1761724065763661E-3</c:v>
                </c:pt>
                <c:pt idx="20">
                  <c:v>-3.0496378987734406E-2</c:v>
                </c:pt>
                <c:pt idx="21">
                  <c:v>7.9925287452611848E-4</c:v>
                </c:pt>
                <c:pt idx="22">
                  <c:v>-2.0230737247837194E-3</c:v>
                </c:pt>
                <c:pt idx="23">
                  <c:v>7.4074508528449295E-3</c:v>
                </c:pt>
                <c:pt idx="24">
                  <c:v>-6.445956049093246E-3</c:v>
                </c:pt>
                <c:pt idx="25">
                  <c:v>2.9345873390817095E-3</c:v>
                </c:pt>
                <c:pt idx="26">
                  <c:v>-2.5033423847073549E-3</c:v>
                </c:pt>
                <c:pt idx="27">
                  <c:v>9.5200088515108167E-3</c:v>
                </c:pt>
                <c:pt idx="28">
                  <c:v>9.9891916816288451E-3</c:v>
                </c:pt>
                <c:pt idx="29">
                  <c:v>9.1761724065763661E-3</c:v>
                </c:pt>
                <c:pt idx="30">
                  <c:v>9.5200088515108167E-3</c:v>
                </c:pt>
                <c:pt idx="31">
                  <c:v>9.9891916816288451E-3</c:v>
                </c:pt>
                <c:pt idx="32">
                  <c:v>9.1761724065763661E-3</c:v>
                </c:pt>
              </c:numCache>
            </c:numRef>
          </c:yVal>
          <c:bubbleSize>
            <c:numRef>
              <c:f>Sheet1!$C$2:$C$34</c:f>
              <c:numCache>
                <c:formatCode>0.0%;\-0.0%;0.0%</c:formatCode>
                <c:ptCount val="33"/>
                <c:pt idx="0">
                  <c:v>0.20534350317386332</c:v>
                </c:pt>
                <c:pt idx="1">
                  <c:v>0.16449967474779223</c:v>
                </c:pt>
                <c:pt idx="2">
                  <c:v>0.13570937422705509</c:v>
                </c:pt>
                <c:pt idx="3">
                  <c:v>0.13524377358098763</c:v>
                </c:pt>
                <c:pt idx="4">
                  <c:v>0.13450598379583567</c:v>
                </c:pt>
                <c:pt idx="5">
                  <c:v>0.12838465331101265</c:v>
                </c:pt>
                <c:pt idx="6">
                  <c:v>0.12789317668826383</c:v>
                </c:pt>
                <c:pt idx="7">
                  <c:v>0.12598628919541183</c:v>
                </c:pt>
                <c:pt idx="8">
                  <c:v>0.11915710808411799</c:v>
                </c:pt>
                <c:pt idx="9">
                  <c:v>0.11524356147158238</c:v>
                </c:pt>
                <c:pt idx="10">
                  <c:v>0.10995067495830582</c:v>
                </c:pt>
                <c:pt idx="11">
                  <c:v>0.10243243744425988</c:v>
                </c:pt>
                <c:pt idx="12">
                  <c:v>0.10064622312236793</c:v>
                </c:pt>
                <c:pt idx="13">
                  <c:v>9.7816705186919498E-2</c:v>
                </c:pt>
                <c:pt idx="14">
                  <c:v>9.0064390990702486E-2</c:v>
                </c:pt>
                <c:pt idx="15">
                  <c:v>8.6588910005602857E-2</c:v>
                </c:pt>
                <c:pt idx="16">
                  <c:v>8.5773704176114046E-2</c:v>
                </c:pt>
                <c:pt idx="17">
                  <c:v>8.4058948873066877E-2</c:v>
                </c:pt>
                <c:pt idx="18">
                  <c:v>8.267753186260067E-2</c:v>
                </c:pt>
                <c:pt idx="19">
                  <c:v>7.4128876889740694E-2</c:v>
                </c:pt>
                <c:pt idx="20">
                  <c:v>6.8734786726684913E-2</c:v>
                </c:pt>
                <c:pt idx="21">
                  <c:v>5.2203029775927438E-2</c:v>
                </c:pt>
                <c:pt idx="22">
                  <c:v>5.0809302204603793E-2</c:v>
                </c:pt>
                <c:pt idx="23">
                  <c:v>9.7816705186919498E-2</c:v>
                </c:pt>
                <c:pt idx="24">
                  <c:v>9.0064390990702486E-2</c:v>
                </c:pt>
                <c:pt idx="25">
                  <c:v>8.6588910005602857E-2</c:v>
                </c:pt>
                <c:pt idx="26">
                  <c:v>8.5773704176114046E-2</c:v>
                </c:pt>
                <c:pt idx="27">
                  <c:v>8.4058948873066877E-2</c:v>
                </c:pt>
                <c:pt idx="28">
                  <c:v>8.267753186260067E-2</c:v>
                </c:pt>
                <c:pt idx="29">
                  <c:v>7.4128876889740694E-2</c:v>
                </c:pt>
                <c:pt idx="30">
                  <c:v>8.4058948873066877E-2</c:v>
                </c:pt>
                <c:pt idx="31">
                  <c:v>8.267753186260067E-2</c:v>
                </c:pt>
                <c:pt idx="32">
                  <c:v>7.4128876889740694E-2</c:v>
                </c:pt>
              </c:numCache>
            </c:numRef>
          </c:bubbleSize>
          <c:bubble3D val="0"/>
          <c:extLst>
            <c:ext xmlns:c15="http://schemas.microsoft.com/office/drawing/2012/chart" uri="{02D57815-91ED-43cb-92C2-25804820EDAC}">
              <c15:datalabelsRange>
                <c15:f>Sheet1!$D$2:$D$34</c15:f>
                <c15:dlblRangeCache>
                  <c:ptCount val="3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 </c:v>
                  </c:pt>
                  <c:pt idx="22">
                    <c:v>23 </c:v>
                  </c:pt>
                  <c:pt idx="23">
                    <c:v>24 </c:v>
                  </c:pt>
                  <c:pt idx="24">
                    <c:v>25 </c:v>
                  </c:pt>
                  <c:pt idx="25">
                    <c:v>26 </c:v>
                  </c:pt>
                  <c:pt idx="26">
                    <c:v>27 </c:v>
                  </c:pt>
                  <c:pt idx="27">
                    <c:v>28 </c:v>
                  </c:pt>
                  <c:pt idx="28">
                    <c:v>29 </c:v>
                  </c:pt>
                  <c:pt idx="29">
                    <c:v>30 </c:v>
                  </c:pt>
                  <c:pt idx="30">
                    <c:v>31 </c:v>
                  </c:pt>
                  <c:pt idx="31">
                    <c:v>32 </c:v>
                  </c:pt>
                  <c:pt idx="32">
                    <c:v>33 </c:v>
                  </c:pt>
                </c15:dlblRangeCache>
              </c15:datalabelsRange>
            </c:ext>
            <c:ext xmlns:c16="http://schemas.microsoft.com/office/drawing/2014/chart" uri="{C3380CC4-5D6E-409C-BE32-E72D297353CC}">
              <c16:uniqueId val="{00000000-E8D7-5D40-8192-48D91D141F56}"/>
            </c:ext>
          </c:extLst>
        </c:ser>
        <c:dLbls>
          <c:showLegendKey val="0"/>
          <c:showVal val="0"/>
          <c:showCatName val="0"/>
          <c:showSerName val="0"/>
          <c:showPercent val="0"/>
          <c:showBubbleSize val="0"/>
        </c:dLbls>
        <c:bubbleScale val="50"/>
        <c:showNegBubbles val="0"/>
        <c:axId val="1389925551"/>
        <c:axId val="1389927199"/>
      </c:bubbleChart>
      <c:valAx>
        <c:axId val="1389925551"/>
        <c:scaling>
          <c:orientation val="minMax"/>
        </c:scaling>
        <c:delete val="0"/>
        <c:axPos val="b"/>
        <c:numFmt formatCode="0.0%;\-0.0%;0.0%" sourceLinked="1"/>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7199"/>
        <c:crosses val="autoZero"/>
        <c:crossBetween val="midCat"/>
      </c:valAx>
      <c:valAx>
        <c:axId val="1389927199"/>
        <c:scaling>
          <c:orientation val="minMax"/>
        </c:scaling>
        <c:delete val="0"/>
        <c:axPos val="l"/>
        <c:numFmt formatCode="0.0%;\-0.0%;0.0%" sourceLinked="1"/>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5551"/>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hoc Bars</c:v>
                </c:pt>
                <c:pt idx="1">
                  <c:v>Choc Share Bags</c:v>
                </c:pt>
                <c:pt idx="2">
                  <c:v>Choc Block</c:v>
                </c:pt>
                <c:pt idx="3">
                  <c:v>Choc Bites</c:v>
                </c:pt>
                <c:pt idx="4">
                  <c:v>Gifting</c:v>
                </c:pt>
              </c:strCache>
            </c:strRef>
          </c:cat>
          <c:val>
            <c:numRef>
              <c:f>Sheet1!$B$2:$B$6</c:f>
              <c:numCache>
                <c:formatCode>General</c:formatCode>
                <c:ptCount val="5"/>
                <c:pt idx="0">
                  <c:v>562.66</c:v>
                </c:pt>
                <c:pt idx="1">
                  <c:v>556.6</c:v>
                </c:pt>
                <c:pt idx="2">
                  <c:v>504.32</c:v>
                </c:pt>
                <c:pt idx="3">
                  <c:v>339.89</c:v>
                </c:pt>
                <c:pt idx="4">
                  <c:v>248.99</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hoc Bars</c:v>
                </c:pt>
                <c:pt idx="1">
                  <c:v>Choc Share Bags</c:v>
                </c:pt>
                <c:pt idx="2">
                  <c:v>Choc Block</c:v>
                </c:pt>
                <c:pt idx="3">
                  <c:v>Choc Bites</c:v>
                </c:pt>
                <c:pt idx="4">
                  <c:v>Gifting</c:v>
                </c:pt>
              </c:strCache>
            </c:strRef>
          </c:cat>
          <c:val>
            <c:numRef>
              <c:f>Sheet1!$C$2:$C$6</c:f>
              <c:numCache>
                <c:formatCode>General</c:formatCode>
                <c:ptCount val="5"/>
                <c:pt idx="0">
                  <c:v>27.565791914269141</c:v>
                </c:pt>
                <c:pt idx="1">
                  <c:v>20.255570785359271</c:v>
                </c:pt>
                <c:pt idx="2">
                  <c:v>19.624089328920221</c:v>
                </c:pt>
                <c:pt idx="3">
                  <c:v>20.126364279716149</c:v>
                </c:pt>
                <c:pt idx="4">
                  <c:v>34.62074152824585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hoc Bars</c:v>
                </c:pt>
                <c:pt idx="1">
                  <c:v>Choc Share Bags</c:v>
                </c:pt>
                <c:pt idx="2">
                  <c:v>Choc Block</c:v>
                </c:pt>
                <c:pt idx="3">
                  <c:v>Choc Bites</c:v>
                </c:pt>
                <c:pt idx="4">
                  <c:v>Gifting</c:v>
                </c:pt>
              </c:strCache>
            </c:strRef>
          </c:cat>
          <c:val>
            <c:numRef>
              <c:f>Sheet1!$B$2:$B$6</c:f>
              <c:numCache>
                <c:formatCode>General</c:formatCode>
                <c:ptCount val="5"/>
                <c:pt idx="0">
                  <c:v>1.1000000000000001</c:v>
                </c:pt>
                <c:pt idx="1">
                  <c:v>1.06</c:v>
                </c:pt>
                <c:pt idx="2">
                  <c:v>0.97</c:v>
                </c:pt>
                <c:pt idx="3">
                  <c:v>1.04</c:v>
                </c:pt>
                <c:pt idx="4">
                  <c:v>1.18</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max val="1.2"/>
          <c:min val="0.8"/>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rgbClr val="AEABAB"/>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rgbClr val="A6A6A6"/>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rgbClr val="9B9898"/>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rgbClr val="7F7F7F"/>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tx2"/>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24423408365995183"/>
          <c:w val="1"/>
          <c:h val="0.55186820087771593"/>
        </c:manualLayout>
      </c:layout>
      <c:barChart>
        <c:barDir val="col"/>
        <c:grouping val="clustered"/>
        <c:varyColors val="0"/>
        <c:ser>
          <c:idx val="0"/>
          <c:order val="0"/>
          <c:tx>
            <c:strRef>
              <c:f>Sheet1!$B$1</c:f>
              <c:strCache>
                <c:ptCount val="1"/>
                <c:pt idx="0">
                  <c:v>Growth Contribution</c:v>
                </c:pt>
              </c:strCache>
            </c:strRef>
          </c:tx>
          <c:spPr>
            <a:solidFill>
              <a:srgbClr val="CFCECE"/>
            </a:solidFill>
            <a:ln>
              <a:noFill/>
            </a:ln>
            <a:effectLst/>
          </c:spPr>
          <c:invertIfNegative val="1"/>
          <c:dPt>
            <c:idx val="0"/>
            <c:invertIfNegative val="1"/>
            <c:bubble3D val="0"/>
            <c:spPr>
              <a:solidFill>
                <a:srgbClr val="BCBBBB"/>
              </a:solidFill>
              <a:ln>
                <a:noFill/>
              </a:ln>
              <a:effectLst/>
            </c:spPr>
            <c:extLst>
              <c:ext xmlns:c16="http://schemas.microsoft.com/office/drawing/2014/chart" uri="{C3380CC4-5D6E-409C-BE32-E72D297353CC}">
                <c16:uniqueId val="{00000001-C68F-4E4B-B10D-6AA356BDCE0E}"/>
              </c:ext>
            </c:extLst>
          </c:dPt>
          <c:dPt>
            <c:idx val="1"/>
            <c:invertIfNegative val="1"/>
            <c:bubble3D val="0"/>
            <c:spPr>
              <a:solidFill>
                <a:srgbClr val="BCBBBB"/>
              </a:solidFill>
              <a:ln>
                <a:noFill/>
              </a:ln>
              <a:effectLst/>
            </c:spPr>
            <c:extLst>
              <c:ext xmlns:c16="http://schemas.microsoft.com/office/drawing/2014/chart" uri="{C3380CC4-5D6E-409C-BE32-E72D297353CC}">
                <c16:uniqueId val="{00000001-7AF2-4664-B955-D09F8C4DAF1A}"/>
              </c:ext>
            </c:extLst>
          </c:dPt>
          <c:dPt>
            <c:idx val="2"/>
            <c:invertIfNegative val="1"/>
            <c:bubble3D val="0"/>
            <c:extLst>
              <c:ext xmlns:c16="http://schemas.microsoft.com/office/drawing/2014/chart" uri="{C3380CC4-5D6E-409C-BE32-E72D297353CC}">
                <c16:uniqueId val="{00000001-939F-914F-B21C-A74C7D512FB1}"/>
              </c:ext>
            </c:extLst>
          </c:dPt>
          <c:dPt>
            <c:idx val="3"/>
            <c:invertIfNegative val="1"/>
            <c:bubble3D val="0"/>
            <c:spPr>
              <a:solidFill>
                <a:srgbClr val="BCBBBB"/>
              </a:solidFill>
              <a:ln>
                <a:noFill/>
              </a:ln>
              <a:effectLst/>
            </c:spPr>
            <c:extLst>
              <c:ext xmlns:c16="http://schemas.microsoft.com/office/drawing/2014/chart" uri="{C3380CC4-5D6E-409C-BE32-E72D297353CC}">
                <c16:uniqueId val="{00000003-939F-914F-B21C-A74C7D512FB1}"/>
              </c:ext>
            </c:extLst>
          </c:dPt>
          <c:dPt>
            <c:idx val="4"/>
            <c:invertIfNegative val="1"/>
            <c:bubble3D val="0"/>
            <c:spPr>
              <a:solidFill>
                <a:srgbClr val="BCBBBB"/>
              </a:solidFill>
              <a:ln>
                <a:noFill/>
              </a:ln>
              <a:effectLst/>
            </c:spPr>
            <c:extLst>
              <c:ext xmlns:c16="http://schemas.microsoft.com/office/drawing/2014/chart" uri="{C3380CC4-5D6E-409C-BE32-E72D297353CC}">
                <c16:uniqueId val="{00000004-A3FA-44F6-940C-F93518337A19}"/>
              </c:ext>
            </c:extLst>
          </c:dPt>
          <c:dLbls>
            <c:dLbl>
              <c:idx val="3"/>
              <c:layout>
                <c:manualLayout>
                  <c:x val="1.1769899030021306E-3"/>
                  <c:y val="6.5437011016554296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39F-914F-B21C-A74C7D512FB1}"/>
                </c:ext>
              </c:extLst>
            </c:dLbl>
            <c:numFmt formatCode="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hoc Bars</c:v>
                </c:pt>
                <c:pt idx="1">
                  <c:v>Choc Share Bags</c:v>
                </c:pt>
                <c:pt idx="2">
                  <c:v>Choc Block</c:v>
                </c:pt>
                <c:pt idx="3">
                  <c:v>Choc Bites</c:v>
                </c:pt>
                <c:pt idx="4">
                  <c:v>Gifting</c:v>
                </c:pt>
              </c:strCache>
            </c:strRef>
          </c:cat>
          <c:val>
            <c:numRef>
              <c:f>Sheet1!$B$2:$B$6</c:f>
              <c:numCache>
                <c:formatCode>General</c:formatCode>
                <c:ptCount val="5"/>
                <c:pt idx="0">
                  <c:v>3.6130570656730629E-2</c:v>
                </c:pt>
                <c:pt idx="1">
                  <c:v>0.46180248611614361</c:v>
                </c:pt>
                <c:pt idx="2">
                  <c:v>-0.2713470561877247</c:v>
                </c:pt>
                <c:pt idx="3">
                  <c:v>0.19801776676495594</c:v>
                </c:pt>
                <c:pt idx="4">
                  <c:v>0.57539623264989448</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9-939F-914F-B21C-A74C7D512FB1}"/>
            </c:ext>
          </c:extLst>
        </c:ser>
        <c:dLbls>
          <c:showLegendKey val="0"/>
          <c:showVal val="0"/>
          <c:showCatName val="0"/>
          <c:showSerName val="0"/>
          <c:showPercent val="0"/>
          <c:showBubbleSize val="0"/>
        </c:dLbls>
        <c:gapWidth val="50"/>
        <c:overlap val="-27"/>
        <c:axId val="2080507951"/>
        <c:axId val="1652848528"/>
      </c:barChart>
      <c:catAx>
        <c:axId val="2080507951"/>
        <c:scaling>
          <c:orientation val="minMax"/>
        </c:scaling>
        <c:delete val="0"/>
        <c:axPos val="b"/>
        <c:numFmt formatCode="General" sourceLinked="1"/>
        <c:majorTickMark val="out"/>
        <c:minorTickMark val="none"/>
        <c:tickLblPos val="high"/>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652848528"/>
        <c:crossesAt val="0"/>
        <c:auto val="1"/>
        <c:lblAlgn val="ctr"/>
        <c:lblOffset val="50"/>
        <c:noMultiLvlLbl val="0"/>
      </c:catAx>
      <c:valAx>
        <c:axId val="1652848528"/>
        <c:scaling>
          <c:orientation val="minMax"/>
          <c:min val="-3.5"/>
        </c:scaling>
        <c:delete val="1"/>
        <c:axPos val="l"/>
        <c:numFmt formatCode="General" sourceLinked="1"/>
        <c:majorTickMark val="out"/>
        <c:minorTickMark val="none"/>
        <c:tickLblPos val="nextTo"/>
        <c:crossAx val="2080507951"/>
        <c:crossesAt val="100"/>
        <c:crossBetween val="between"/>
      </c:valAx>
      <c:spPr>
        <a:noFill/>
        <a:ln>
          <a:noFill/>
        </a:ln>
        <a:effectLst/>
      </c:spPr>
    </c:plotArea>
    <c:plotVisOnly val="1"/>
    <c:dispBlanksAs val="gap"/>
    <c:showDLblsOverMax val="0"/>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7.1386654855079473E-2"/>
          <c:w val="1"/>
          <c:h val="0.92147467965941254"/>
        </c:manualLayout>
      </c:layout>
      <c:barChart>
        <c:barDir val="col"/>
        <c:grouping val="clustered"/>
        <c:varyColors val="0"/>
        <c:ser>
          <c:idx val="0"/>
          <c:order val="0"/>
          <c:tx>
            <c:strRef>
              <c:f>Sheet1!$B$1</c:f>
              <c:strCache>
                <c:ptCount val="1"/>
                <c:pt idx="0">
                  <c:v>WoB %</c:v>
                </c:pt>
              </c:strCache>
            </c:strRef>
          </c:tx>
          <c:spPr>
            <a:solidFill>
              <a:srgbClr val="CFCECE"/>
            </a:solidFill>
            <a:ln>
              <a:noFill/>
            </a:ln>
            <a:effectLst/>
          </c:spPr>
          <c:invertIfNegative val="1"/>
          <c:dPt>
            <c:idx val="0"/>
            <c:invertIfNegative val="1"/>
            <c:bubble3D val="0"/>
            <c:spPr>
              <a:solidFill>
                <a:srgbClr val="BCBBBB"/>
              </a:solidFill>
              <a:ln>
                <a:noFill/>
              </a:ln>
              <a:effectLst/>
            </c:spPr>
            <c:extLst>
              <c:ext xmlns:c16="http://schemas.microsoft.com/office/drawing/2014/chart" uri="{C3380CC4-5D6E-409C-BE32-E72D297353CC}">
                <c16:uniqueId val="{00000000-5234-456A-90C5-03D5E52B9627}"/>
              </c:ext>
            </c:extLst>
          </c:dPt>
          <c:dPt>
            <c:idx val="1"/>
            <c:invertIfNegative val="1"/>
            <c:bubble3D val="0"/>
            <c:spPr>
              <a:solidFill>
                <a:srgbClr val="BCBBBB"/>
              </a:solidFill>
              <a:ln>
                <a:noFill/>
              </a:ln>
              <a:effectLst/>
            </c:spPr>
            <c:extLst>
              <c:ext xmlns:c16="http://schemas.microsoft.com/office/drawing/2014/chart" uri="{C3380CC4-5D6E-409C-BE32-E72D297353CC}">
                <c16:uniqueId val="{00000001-5234-456A-90C5-03D5E52B9627}"/>
              </c:ext>
            </c:extLst>
          </c:dPt>
          <c:dPt>
            <c:idx val="2"/>
            <c:invertIfNegative val="1"/>
            <c:bubble3D val="0"/>
            <c:spPr>
              <a:solidFill>
                <a:srgbClr val="BCBBBB"/>
              </a:solidFill>
              <a:ln>
                <a:noFill/>
              </a:ln>
              <a:effectLst/>
            </c:spPr>
            <c:extLst>
              <c:ext xmlns:c16="http://schemas.microsoft.com/office/drawing/2014/chart" uri="{C3380CC4-5D6E-409C-BE32-E72D297353CC}">
                <c16:uniqueId val="{00000002-3BF9-4D9B-BA0E-858D9D5657C8}"/>
              </c:ext>
            </c:extLst>
          </c:dPt>
          <c:dPt>
            <c:idx val="3"/>
            <c:invertIfNegative val="1"/>
            <c:bubble3D val="0"/>
            <c:spPr>
              <a:solidFill>
                <a:srgbClr val="BCBBBB"/>
              </a:solidFill>
              <a:ln>
                <a:noFill/>
              </a:ln>
              <a:effectLst/>
            </c:spPr>
            <c:extLst>
              <c:ext xmlns:c16="http://schemas.microsoft.com/office/drawing/2014/chart" uri="{C3380CC4-5D6E-409C-BE32-E72D297353CC}">
                <c16:uniqueId val="{00000003-3BF9-4D9B-BA0E-858D9D5657C8}"/>
              </c:ext>
            </c:extLst>
          </c:dPt>
          <c:dPt>
            <c:idx val="4"/>
            <c:invertIfNegative val="1"/>
            <c:bubble3D val="0"/>
            <c:spPr>
              <a:solidFill>
                <a:srgbClr val="BCBBBB"/>
              </a:solidFill>
              <a:ln>
                <a:noFill/>
              </a:ln>
              <a:effectLst/>
            </c:spPr>
            <c:extLst>
              <c:ext xmlns:c16="http://schemas.microsoft.com/office/drawing/2014/chart" uri="{C3380CC4-5D6E-409C-BE32-E72D297353CC}">
                <c16:uniqueId val="{00000004-3BF9-4D9B-BA0E-858D9D5657C8}"/>
              </c:ext>
            </c:extLst>
          </c:dPt>
          <c:dLbls>
            <c:dLbl>
              <c:idx val="0"/>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CH"/>
                </a:p>
              </c:txPr>
              <c:showLegendKey val="0"/>
              <c:showVal val="1"/>
              <c:showCatName val="0"/>
              <c:showSerName val="0"/>
              <c:showPercent val="0"/>
              <c:showBubbleSize val="0"/>
              <c:extLst>
                <c:ext xmlns:c16="http://schemas.microsoft.com/office/drawing/2014/chart" uri="{C3380CC4-5D6E-409C-BE32-E72D297353CC}">
                  <c16:uniqueId val="{00000000-5234-456A-90C5-03D5E52B9627}"/>
                </c:ext>
              </c:extLst>
            </c:dLbl>
            <c:dLbl>
              <c:idx val="1"/>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CH"/>
                </a:p>
              </c:txPr>
              <c:showLegendKey val="0"/>
              <c:showVal val="1"/>
              <c:showCatName val="0"/>
              <c:showSerName val="0"/>
              <c:showPercent val="0"/>
              <c:showBubbleSize val="0"/>
              <c:extLst>
                <c:ext xmlns:c16="http://schemas.microsoft.com/office/drawing/2014/chart" uri="{C3380CC4-5D6E-409C-BE32-E72D297353CC}">
                  <c16:uniqueId val="{00000001-5234-456A-90C5-03D5E52B9627}"/>
                </c:ext>
              </c:extLst>
            </c:dLbl>
            <c:dLbl>
              <c:idx val="2"/>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CH"/>
                </a:p>
              </c:txPr>
              <c:showLegendKey val="0"/>
              <c:showVal val="1"/>
              <c:showCatName val="0"/>
              <c:showSerName val="0"/>
              <c:showPercent val="0"/>
              <c:showBubbleSize val="0"/>
              <c:extLst>
                <c:ext xmlns:c16="http://schemas.microsoft.com/office/drawing/2014/chart" uri="{C3380CC4-5D6E-409C-BE32-E72D297353CC}">
                  <c16:uniqueId val="{00000002-3BF9-4D9B-BA0E-858D9D5657C8}"/>
                </c:ext>
              </c:extLst>
            </c:dLbl>
            <c:dLbl>
              <c:idx val="3"/>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CH"/>
                </a:p>
              </c:txPr>
              <c:showLegendKey val="0"/>
              <c:showVal val="1"/>
              <c:showCatName val="0"/>
              <c:showSerName val="0"/>
              <c:showPercent val="0"/>
              <c:showBubbleSize val="0"/>
              <c:extLst>
                <c:ext xmlns:c16="http://schemas.microsoft.com/office/drawing/2014/chart" uri="{C3380CC4-5D6E-409C-BE32-E72D297353CC}">
                  <c16:uniqueId val="{00000003-3BF9-4D9B-BA0E-858D9D5657C8}"/>
                </c:ext>
              </c:extLst>
            </c:dLbl>
            <c:dLbl>
              <c:idx val="4"/>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CH"/>
                </a:p>
              </c:txPr>
              <c:showLegendKey val="0"/>
              <c:showVal val="1"/>
              <c:showCatName val="0"/>
              <c:showSerName val="0"/>
              <c:showPercent val="0"/>
              <c:showBubbleSize val="0"/>
              <c:extLst>
                <c:ext xmlns:c16="http://schemas.microsoft.com/office/drawing/2014/chart" uri="{C3380CC4-5D6E-409C-BE32-E72D297353CC}">
                  <c16:uniqueId val="{00000004-3BF9-4D9B-BA0E-858D9D5657C8}"/>
                </c:ext>
              </c:extLst>
            </c:dLbl>
            <c:numFmt formatCode="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hoc Bars</c:v>
                </c:pt>
                <c:pt idx="1">
                  <c:v>Choc Share Bags</c:v>
                </c:pt>
                <c:pt idx="2">
                  <c:v>Choc Block</c:v>
                </c:pt>
                <c:pt idx="3">
                  <c:v>Choc Bites</c:v>
                </c:pt>
                <c:pt idx="4">
                  <c:v>Gifting</c:v>
                </c:pt>
              </c:strCache>
            </c:strRef>
          </c:cat>
          <c:val>
            <c:numRef>
              <c:f>Sheet1!$B$2:$B$6</c:f>
              <c:numCache>
                <c:formatCode>General</c:formatCode>
                <c:ptCount val="5"/>
                <c:pt idx="0">
                  <c:v>0.25431580591983377</c:v>
                </c:pt>
                <c:pt idx="1">
                  <c:v>0.2515732239292916</c:v>
                </c:pt>
                <c:pt idx="2">
                  <c:v>0.22794683087105697</c:v>
                </c:pt>
                <c:pt idx="3">
                  <c:v>0.15362398780410313</c:v>
                </c:pt>
                <c:pt idx="4">
                  <c:v>0.11254015147571449</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3-5234-456A-90C5-03D5E52B9627}"/>
            </c:ext>
          </c:extLst>
        </c:ser>
        <c:dLbls>
          <c:showLegendKey val="0"/>
          <c:showVal val="0"/>
          <c:showCatName val="0"/>
          <c:showSerName val="0"/>
          <c:showPercent val="0"/>
          <c:showBubbleSize val="0"/>
        </c:dLbls>
        <c:gapWidth val="50"/>
        <c:overlap val="-27"/>
        <c:axId val="2080507951"/>
        <c:axId val="1652848528"/>
      </c:barChart>
      <c:catAx>
        <c:axId val="2080507951"/>
        <c:scaling>
          <c:orientation val="minMax"/>
        </c:scaling>
        <c:delete val="1"/>
        <c:axPos val="b"/>
        <c:numFmt formatCode="General" sourceLinked="1"/>
        <c:majorTickMark val="out"/>
        <c:minorTickMark val="none"/>
        <c:tickLblPos val="low"/>
        <c:crossAx val="1652848528"/>
        <c:crossesAt val="0"/>
        <c:auto val="1"/>
        <c:lblAlgn val="ctr"/>
        <c:lblOffset val="100"/>
        <c:noMultiLvlLbl val="0"/>
      </c:catAx>
      <c:valAx>
        <c:axId val="1652848528"/>
        <c:scaling>
          <c:orientation val="minMax"/>
        </c:scaling>
        <c:delete val="1"/>
        <c:axPos val="l"/>
        <c:numFmt formatCode="General" sourceLinked="1"/>
        <c:majorTickMark val="out"/>
        <c:minorTickMark val="none"/>
        <c:tickLblPos val="nextTo"/>
        <c:crossAx val="2080507951"/>
        <c:crosses val="autoZero"/>
        <c:crossBetween val="between"/>
      </c:valAx>
      <c:spPr>
        <a:noFill/>
        <a:ln>
          <a:noFill/>
        </a:ln>
        <a:effectLst/>
      </c:spPr>
    </c:plotArea>
    <c:plotVisOnly val="1"/>
    <c:dispBlanksAs val="gap"/>
    <c:showDLblsOverMax val="0"/>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4">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hoc Bars</c:v>
                </c:pt>
                <c:pt idx="1">
                  <c:v>Choc Share Bags</c:v>
                </c:pt>
                <c:pt idx="2">
                  <c:v>Choc Block</c:v>
                </c:pt>
                <c:pt idx="3">
                  <c:v>Choc Bites</c:v>
                </c:pt>
                <c:pt idx="4">
                  <c:v>Gifting</c:v>
                </c:pt>
              </c:strCache>
            </c:strRef>
          </c:cat>
          <c:val>
            <c:numRef>
              <c:f>Sheet1!$B$2:$B$6</c:f>
              <c:numCache>
                <c:formatCode>General</c:formatCode>
                <c:ptCount val="5"/>
                <c:pt idx="0">
                  <c:v>562.66</c:v>
                </c:pt>
                <c:pt idx="1">
                  <c:v>556.6</c:v>
                </c:pt>
                <c:pt idx="2">
                  <c:v>504.32</c:v>
                </c:pt>
                <c:pt idx="3">
                  <c:v>339.89</c:v>
                </c:pt>
                <c:pt idx="4">
                  <c:v>248.99</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hoc Bars</c:v>
                </c:pt>
                <c:pt idx="1">
                  <c:v>Choc Share Bags</c:v>
                </c:pt>
                <c:pt idx="2">
                  <c:v>Choc Block</c:v>
                </c:pt>
                <c:pt idx="3">
                  <c:v>Choc Bites</c:v>
                </c:pt>
                <c:pt idx="4">
                  <c:v>Gifting</c:v>
                </c:pt>
              </c:strCache>
            </c:strRef>
          </c:cat>
          <c:val>
            <c:numRef>
              <c:f>Sheet1!$C$2:$C$6</c:f>
              <c:numCache>
                <c:formatCode>General</c:formatCode>
                <c:ptCount val="5"/>
                <c:pt idx="0">
                  <c:v>27.565791914269141</c:v>
                </c:pt>
                <c:pt idx="1">
                  <c:v>20.255570785359271</c:v>
                </c:pt>
                <c:pt idx="2">
                  <c:v>19.624089328920221</c:v>
                </c:pt>
                <c:pt idx="3">
                  <c:v>20.126364279716149</c:v>
                </c:pt>
                <c:pt idx="4">
                  <c:v>34.62074152824585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57555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hoc Bars</c:v>
                </c:pt>
                <c:pt idx="1">
                  <c:v>Choc Share Bags</c:v>
                </c:pt>
                <c:pt idx="2">
                  <c:v>Choc Block</c:v>
                </c:pt>
                <c:pt idx="3">
                  <c:v>Choc Bites</c:v>
                </c:pt>
                <c:pt idx="4">
                  <c:v>Gifting</c:v>
                </c:pt>
              </c:strCache>
            </c:strRef>
          </c:cat>
          <c:val>
            <c:numRef>
              <c:f>Sheet1!$B$2:$B$6</c:f>
              <c:numCache>
                <c:formatCode>General</c:formatCode>
                <c:ptCount val="5"/>
                <c:pt idx="0">
                  <c:v>1.1000000000000001</c:v>
                </c:pt>
                <c:pt idx="1">
                  <c:v>1.06</c:v>
                </c:pt>
                <c:pt idx="2">
                  <c:v>0.97</c:v>
                </c:pt>
                <c:pt idx="3">
                  <c:v>1.04</c:v>
                </c:pt>
                <c:pt idx="4">
                  <c:v>1.18</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max val="1.2"/>
          <c:min val="0.8"/>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3477082589408701</c:v>
                </c:pt>
                <c:pt idx="1">
                  <c:v>8.4917589378831038E-2</c:v>
                </c:pt>
                <c:pt idx="2">
                  <c:v>7.7503265731886414E-2</c:v>
                </c:pt>
                <c:pt idx="3">
                  <c:v>6.2091526342785891E-2</c:v>
                </c:pt>
                <c:pt idx="4">
                  <c:v>5.1427007674610031E-2</c:v>
                </c:pt>
                <c:pt idx="5">
                  <c:v>4.9062782206399709E-2</c:v>
                </c:pt>
                <c:pt idx="6">
                  <c:v>3.680691772490205E-2</c:v>
                </c:pt>
                <c:pt idx="7">
                  <c:v>3.502358726533103E-2</c:v>
                </c:pt>
                <c:pt idx="8">
                  <c:v>2.7061754739869371E-2</c:v>
                </c:pt>
                <c:pt idx="9">
                  <c:v>2.619123520631474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20">
  <a:schemeClr val="dk1"/>
  <cs:variation>
    <a:tint val="88500"/>
  </cs:variation>
  <cs:variation>
    <a:tint val="55000"/>
  </cs:variation>
  <cs:variation>
    <a:tint val="75000"/>
  </cs:variation>
  <cs:variation>
    <a:tint val="98500"/>
  </cs:variation>
  <cs:variation>
    <a:tint val="30000"/>
  </cs:variation>
  <cs:variation>
    <a:tint val="60000"/>
  </cs:variation>
  <cs:variation>
    <a:tint val="8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3F5F7F6-F331-41A3-992E-AA52FE44B72F}" type="datetimeFigureOut">
              <a:rPr lang="en-AE" smtClean="0"/>
              <a:t>25/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8D11946-C648-4AB1-BBAC-E03745FD1C4B}" type="slidenum">
              <a:rPr lang="en-AE" smtClean="0"/>
              <a:t>‹#›</a:t>
            </a:fld>
            <a:endParaRPr lang="en-AE"/>
          </a:p>
        </p:txBody>
      </p:sp>
    </p:spTree>
    <p:extLst>
      <p:ext uri="{BB962C8B-B14F-4D97-AF65-F5344CB8AC3E}">
        <p14:creationId xmlns:p14="http://schemas.microsoft.com/office/powerpoint/2010/main" val="14152614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5</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408441-3C4D-44CF-7175-FCF3AF9A99D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E97B56C-334B-88DC-150A-D05BE16F34A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5A0DD52-780B-1ED9-ED91-116001638DEE}"/>
              </a:ext>
            </a:extLst>
          </p:cNvPr>
          <p:cNvSpPr>
            <a:spLocks noGrp="1"/>
          </p:cNvSpPr>
          <p:nvPr>
            <p:ph type="body" idx="1"/>
          </p:nvPr>
        </p:nvSpPr>
        <p:spPr/>
        <p:txBody>
          <a:bodyPr/>
          <a:lstStyle/>
          <a:p>
            <a:endParaRPr lang="en-CH"/>
          </a:p>
        </p:txBody>
      </p:sp>
    </p:spTree>
    <p:extLst>
      <p:ext uri="{BB962C8B-B14F-4D97-AF65-F5344CB8AC3E}">
        <p14:creationId xmlns:p14="http://schemas.microsoft.com/office/powerpoint/2010/main" val="3318172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443778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B77A23-45BF-4838-9FB5-A0A7C626C9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681293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41085331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AD88733-A950-4FD9-BB22-12C5F40A2B17}" type="datetime1">
              <a:rPr lang="en-US" smtClean="0"/>
              <a:t>9/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22955324"/>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D0D826C-3918-43B8-8876-8BF4AD49A296}" type="datetime1">
              <a:rPr lang="en-US" smtClean="0"/>
              <a:t>9/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40846785"/>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5BD8B8-06BA-4B5F-9200-6DA7BF53AEE1}" type="datetime1">
              <a:rPr lang="en-US" smtClean="0"/>
              <a:t>9/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168573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8DDD3F4-0D6F-47E6-8593-EBB56382158D}" type="datetime1">
              <a:rPr lang="en-US" smtClean="0"/>
              <a:t>9/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21797046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481EDE10-9189-495B-88A9-03D561B73E49}" type="datetime1">
              <a:rPr lang="en-US" smtClean="0"/>
              <a:t>9/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8665631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5B921D7A-97AA-4985-8FE0-49BBE088E6BB}" type="datetime1">
              <a:rPr lang="en-US" smtClean="0"/>
              <a:t>9/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5089182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24D81D-141B-465B-A842-D04818E8D5FB}" type="datetime1">
              <a:rPr lang="en-US" smtClean="0"/>
              <a:t>9/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777613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59209FE-0AC8-4D18-96D5-6E9638B202A2}" type="datetime1">
              <a:rPr lang="en-US" smtClean="0"/>
              <a:t>9/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24419427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E02F045-F5C7-4498-9217-73B05A860CC1}" type="datetime1">
              <a:rPr lang="en-US" smtClean="0"/>
              <a:t>9/25/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223607700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E611D128-3D56-4D12-9102-5B8046DC7D49}" type="datetime1">
              <a:rPr lang="en-US" smtClean="0"/>
              <a:t>9/25/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41299522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5E5FBACC-2EC0-48A4-B2D8-745D4C1642BC}" type="datetime1">
              <a:rPr lang="en-US" smtClean="0"/>
              <a:t>9/25/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73821397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A24546CE-4E0A-4030-9BD9-0990FFC57DC8}" type="datetime1">
              <a:rPr lang="en-US" smtClean="0"/>
              <a:t>9/25/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56369138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51329A59-9E64-4DFE-A7D9-256D04649A61}" type="datetime1">
              <a:rPr lang="en-US" smtClean="0"/>
              <a:t>9/25/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473666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6F0DC129-0048-45FE-BBD5-D4D0DE1EF9FA}" type="datetime1">
              <a:rPr lang="en-US" smtClean="0"/>
              <a:t>9/25/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0476795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835644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8BAF3DA6-6EB4-4243-982C-859B2894A60B}" type="datetime1">
              <a:rPr lang="en-US" smtClean="0"/>
              <a:t>9/25/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21197683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F489141C-F318-4CF0-BFCD-4EC149E8EA4C}" type="datetime1">
              <a:rPr lang="en-US" smtClean="0"/>
              <a:t>9/25/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40837398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B186165-B559-4ABC-B6D8-592E97CC6A4B}" type="datetime1">
              <a:rPr lang="en-US" smtClean="0"/>
              <a:t>9/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7178134"/>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3E2A59C-2832-41BC-9A21-812AF13E17D3}" type="datetime1">
              <a:rPr lang="en-US" smtClean="0"/>
              <a:t>9/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00747644"/>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1B8321AA-2433-4167-A1F9-283E2C3DC3B6}" type="datetime1">
              <a:rPr lang="en-US" smtClean="0"/>
              <a:t>9/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46938089"/>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1BEBE96-9371-4025-9EF2-371CDB24436C}" type="datetime1">
              <a:rPr lang="en-US" smtClean="0"/>
              <a:t>9/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94384708"/>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2FA37B67-A761-4DFE-B797-71C96E477701}" type="datetime1">
              <a:rPr lang="en-US" smtClean="0"/>
              <a:t>9/25/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5112145"/>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CA15C64-AED6-4E75-9F70-581FD82EDF9D}" type="datetime1">
              <a:rPr lang="en-US" smtClean="0"/>
              <a:t>9/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94785864"/>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2AA3EA54-D3AC-4F40-B6D1-EC9E733A9166}" type="datetime1">
              <a:rPr lang="en-US" smtClean="0"/>
              <a:t>9/25/2025</a:t>
            </a:fld>
            <a:endParaRPr lang="en-US"/>
          </a:p>
        </p:txBody>
      </p:sp>
    </p:spTree>
    <p:extLst>
      <p:ext uri="{BB962C8B-B14F-4D97-AF65-F5344CB8AC3E}">
        <p14:creationId xmlns:p14="http://schemas.microsoft.com/office/powerpoint/2010/main" val="2146226508"/>
      </p:ext>
    </p:extLst>
  </p:cSld>
  <p:clrMap bg1="lt1" tx1="dk1" bg2="lt2" tx2="dk2" accent1="accent1" accent2="accent2" accent3="accent3" accent4="accent4" accent5="accent5" accent6="accent6" hlink="hlink" folHlink="folHlink"/>
  <p:sldLayoutIdLst>
    <p:sldLayoutId id="2147483843"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 id="2147483857" r:id="rId12"/>
    <p:sldLayoutId id="2147483858" r:id="rId13"/>
    <p:sldLayoutId id="2147483859" r:id="rId14"/>
    <p:sldLayoutId id="2147483860" r:id="rId15"/>
    <p:sldLayoutId id="2147483861" r:id="rId16"/>
    <p:sldLayoutId id="2147483862" r:id="rId17"/>
    <p:sldLayoutId id="2147483863" r:id="rId18"/>
    <p:sldLayoutId id="2147483864" r:id="rId19"/>
    <p:sldLayoutId id="2147483865" r:id="rId20"/>
    <p:sldLayoutId id="2147483866" r:id="rId21"/>
    <p:sldLayoutId id="2147483867" r:id="rId22"/>
    <p:sldLayoutId id="2147483902" r:id="rId23"/>
    <p:sldLayoutId id="2147483903"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chart" Target="../charts/chart21.xml"/><Relationship Id="rId2" Type="http://schemas.openxmlformats.org/officeDocument/2006/relationships/notesSlide" Target="../notesSlides/notesSlide8.xml"/><Relationship Id="rId1" Type="http://schemas.openxmlformats.org/officeDocument/2006/relationships/slideLayout" Target="../slideLayouts/slideLayout7.xml"/><Relationship Id="rId4" Type="http://schemas.openxmlformats.org/officeDocument/2006/relationships/chart" Target="../charts/chart22.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23.xml"/><Relationship Id="rId5" Type="http://schemas.openxmlformats.org/officeDocument/2006/relationships/image" Target="../media/image28.emf"/><Relationship Id="rId4" Type="http://schemas.openxmlformats.org/officeDocument/2006/relationships/oleObject" Target="../embeddings/oleObject29.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chart" Target="../charts/chart25.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24.xml"/><Relationship Id="rId5" Type="http://schemas.openxmlformats.org/officeDocument/2006/relationships/image" Target="../media/image28.emf"/><Relationship Id="rId4" Type="http://schemas.openxmlformats.org/officeDocument/2006/relationships/oleObject" Target="../embeddings/oleObject30.bin"/></Relationships>
</file>

<file path=ppt/slides/_rels/slide13.xml.rels><?xml version="1.0" encoding="UTF-8" standalone="yes"?>
<Relationships xmlns="http://schemas.openxmlformats.org/package/2006/relationships"><Relationship Id="rId8" Type="http://schemas.openxmlformats.org/officeDocument/2006/relationships/chart" Target="../charts/chart28.xml"/><Relationship Id="rId3" Type="http://schemas.openxmlformats.org/officeDocument/2006/relationships/notesSlide" Target="../notesSlides/notesSlide11.xml"/><Relationship Id="rId7" Type="http://schemas.openxmlformats.org/officeDocument/2006/relationships/chart" Target="../charts/chart27.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26.xml"/><Relationship Id="rId11" Type="http://schemas.openxmlformats.org/officeDocument/2006/relationships/chart" Target="../charts/chart31.xml"/><Relationship Id="rId5" Type="http://schemas.openxmlformats.org/officeDocument/2006/relationships/image" Target="../media/image28.emf"/><Relationship Id="rId10" Type="http://schemas.openxmlformats.org/officeDocument/2006/relationships/chart" Target="../charts/chart30.xml"/><Relationship Id="rId4" Type="http://schemas.openxmlformats.org/officeDocument/2006/relationships/oleObject" Target="../embeddings/oleObject30.bin"/><Relationship Id="rId9" Type="http://schemas.openxmlformats.org/officeDocument/2006/relationships/chart" Target="../charts/chart29.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image" Target="../media/image30.emf"/><Relationship Id="rId5" Type="http://schemas.openxmlformats.org/officeDocument/2006/relationships/oleObject" Target="../embeddings/oleObject31.bin"/><Relationship Id="rId4" Type="http://schemas.openxmlformats.org/officeDocument/2006/relationships/chart" Target="../charts/chart32.xml"/></Relationships>
</file>

<file path=ppt/slides/_rels/slide15.xml.rels><?xml version="1.0" encoding="UTF-8" standalone="yes"?>
<Relationships xmlns="http://schemas.openxmlformats.org/package/2006/relationships"><Relationship Id="rId3" Type="http://schemas.microsoft.com/office/2014/relationships/chartEx" Target="../charts/chartEx1.xml"/><Relationship Id="rId2" Type="http://schemas.openxmlformats.org/officeDocument/2006/relationships/notesSlide" Target="../notesSlides/notesSlide13.xml"/><Relationship Id="rId1" Type="http://schemas.openxmlformats.org/officeDocument/2006/relationships/slideLayout" Target="../slideLayouts/slideLayout7.xml"/><Relationship Id="rId5" Type="http://schemas.microsoft.com/office/2014/relationships/chartEx" Target="../charts/chartEx2.xml"/><Relationship Id="rId4" Type="http://schemas.openxmlformats.org/officeDocument/2006/relationships/image" Target="../media/image31.png"/></Relationships>
</file>

<file path=ppt/slides/_rels/slide16.xml.rels><?xml version="1.0" encoding="UTF-8" standalone="yes"?>
<Relationships xmlns="http://schemas.openxmlformats.org/package/2006/relationships"><Relationship Id="rId3" Type="http://schemas.openxmlformats.org/officeDocument/2006/relationships/image" Target="../media/image33.png"/><Relationship Id="rId2" Type="http://schemas.microsoft.com/office/2014/relationships/chartEx" Target="../charts/chartEx3.xml"/><Relationship Id="rId1" Type="http://schemas.openxmlformats.org/officeDocument/2006/relationships/slideLayout" Target="../slideLayouts/slideLayout7.xml"/><Relationship Id="rId5" Type="http://schemas.openxmlformats.org/officeDocument/2006/relationships/image" Target="../media/image310.png"/><Relationship Id="rId4" Type="http://schemas.microsoft.com/office/2014/relationships/chartEx" Target="../charts/chartEx4.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chart" Target="../charts/chart34.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33.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2.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chart" Target="../charts/chart4.xml"/></Relationships>
</file>

<file path=ppt/slides/_rels/slide3.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chart" Target="../charts/chart6.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chart" Target="../charts/chart8.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7.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5.xml.rels><?xml version="1.0" encoding="UTF-8" standalone="yes"?>
<Relationships xmlns="http://schemas.openxmlformats.org/package/2006/relationships"><Relationship Id="rId3" Type="http://schemas.openxmlformats.org/officeDocument/2006/relationships/chart" Target="../charts/chart9.xml"/><Relationship Id="rId7" Type="http://schemas.openxmlformats.org/officeDocument/2006/relationships/chart" Target="../charts/chart13.xml"/><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chart" Target="../charts/chart12.xml"/><Relationship Id="rId5" Type="http://schemas.openxmlformats.org/officeDocument/2006/relationships/chart" Target="../charts/chart11.xml"/><Relationship Id="rId4" Type="http://schemas.openxmlformats.org/officeDocument/2006/relationships/chart" Target="../charts/chart10.xml"/></Relationships>
</file>

<file path=ppt/slides/_rels/slide6.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notesSlide" Target="../notesSlides/notesSlide6.xml"/><Relationship Id="rId1" Type="http://schemas.openxmlformats.org/officeDocument/2006/relationships/slideLayout" Target="../slideLayouts/slideLayout7.xml"/><Relationship Id="rId4" Type="http://schemas.openxmlformats.org/officeDocument/2006/relationships/chart" Target="../charts/chart16.xml"/></Relationships>
</file>

<file path=ppt/slides/_rels/slide8.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notesSlide" Target="../notesSlides/notesSlide7.xml"/><Relationship Id="rId1" Type="http://schemas.openxmlformats.org/officeDocument/2006/relationships/slideLayout" Target="../slideLayouts/slideLayout7.xml"/><Relationship Id="rId5" Type="http://schemas.openxmlformats.org/officeDocument/2006/relationships/chart" Target="../charts/chart19.xml"/><Relationship Id="rId4" Type="http://schemas.openxmlformats.org/officeDocument/2006/relationships/chart" Target="../charts/chart18.xml"/></Relationships>
</file>

<file path=ppt/slides/_rels/slide9.xml.rels><?xml version="1.0" encoding="UTF-8" standalone="yes"?>
<Relationships xmlns="http://schemas.openxmlformats.org/package/2006/relationships"><Relationship Id="rId2" Type="http://schemas.openxmlformats.org/officeDocument/2006/relationships/chart" Target="../charts/chart20.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dirty="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dirty="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dirty="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25/2025</a:t>
            </a:fld>
            <a:endParaRPr lang="en-US"/>
          </a:p>
        </p:txBody>
      </p:sp>
    </p:spTree>
    <p:extLst>
      <p:ext uri="{BB962C8B-B14F-4D97-AF65-F5344CB8AC3E}">
        <p14:creationId xmlns:p14="http://schemas.microsoft.com/office/powerpoint/2010/main" val="148966021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9/25/2025</a:t>
            </a:fld>
            <a:endParaRPr lang="en-US"/>
          </a:p>
        </p:txBody>
      </p:sp>
    </p:spTree>
    <p:extLst>
      <p:ext uri="{BB962C8B-B14F-4D97-AF65-F5344CB8AC3E}">
        <p14:creationId xmlns:p14="http://schemas.microsoft.com/office/powerpoint/2010/main" val="330357688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84788F55-C544-2888-1994-2AA0FF71D6E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9" name="think-cell data - do not delete" hidden="1">
                        <a:extLst>
                          <a:ext uri="{FF2B5EF4-FFF2-40B4-BE49-F238E27FC236}">
                            <a16:creationId xmlns:a16="http://schemas.microsoft.com/office/drawing/2014/main" id="{84788F55-C544-2888-1994-2AA0FF71D6EF}"/>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a:t>
            </a:fld>
            <a:endParaRPr lang="en-US"/>
          </a:p>
        </p:txBody>
      </p:sp>
      <p:sp>
        <p:nvSpPr>
          <p:cNvPr id="32" name="SRC">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DATA SOURCE: | Trade Panel/Retailer Data | Ending May 2023</a:t>
            </a:r>
          </a:p>
        </p:txBody>
      </p:sp>
      <p:sp>
        <p:nvSpPr>
          <p:cNvPr id="33" name="MT">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ales trend on Value vs. Volume vs. Price | Total Confectionery | National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normAutofit/>
          </a:bodyPr>
          <a:lstStyle/>
          <a:p>
            <a:r>
              <a:rPr lang="fr-CH" dirty="0" err="1">
                <a:highlight>
                  <a:srgbClr val="FFFF00"/>
                </a:highlight>
              </a:rPr>
              <a:t>Category</a:t>
            </a:r>
            <a:r>
              <a:rPr lang="fr-CH" dirty="0">
                <a:highlight>
                  <a:srgbClr val="FFFF00"/>
                </a:highlight>
              </a:rPr>
              <a:t> </a:t>
            </a:r>
            <a:r>
              <a:rPr lang="fr-CH" dirty="0" err="1">
                <a:highlight>
                  <a:srgbClr val="FFFF00"/>
                </a:highlight>
              </a:rPr>
              <a:t>Overview</a:t>
            </a:r>
            <a:r>
              <a:rPr lang="fr-CH"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4" name="C1">
            <a:extLst>
              <a:ext uri="{FF2B5EF4-FFF2-40B4-BE49-F238E27FC236}">
                <a16:creationId xmlns:a16="http://schemas.microsoft.com/office/drawing/2014/main" id="{3F988610-BD5B-1357-841E-2DBFB419E674}"/>
              </a:ext>
            </a:extLst>
          </p:cNvPr>
          <p:cNvGraphicFramePr/>
          <p:nvPr>
            <p:extLst>
              <p:ext uri="{D42A27DB-BD31-4B8C-83A1-F6EECF244321}">
                <p14:modId xmlns:p14="http://schemas.microsoft.com/office/powerpoint/2010/main" val="2937214486"/>
              </p:ext>
            </p:extLst>
          </p:nvPr>
        </p:nvGraphicFramePr>
        <p:xfrm>
          <a:off x="535416" y="2192483"/>
          <a:ext cx="8093544" cy="25402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1" name="T1">
            <a:extLst>
              <a:ext uri="{FF2B5EF4-FFF2-40B4-BE49-F238E27FC236}">
                <a16:creationId xmlns:a16="http://schemas.microsoft.com/office/drawing/2014/main" id="{0D348E7C-1D67-14EC-809B-C07EE5021CB1}"/>
              </a:ext>
            </a:extLst>
          </p:cNvPr>
          <p:cNvGraphicFramePr>
            <a:graphicFrameLocks noGrp="1"/>
          </p:cNvGraphicFramePr>
          <p:nvPr>
            <p:extLst>
              <p:ext uri="{D42A27DB-BD31-4B8C-83A1-F6EECF244321}">
                <p14:modId xmlns:p14="http://schemas.microsoft.com/office/powerpoint/2010/main" val="3883538375"/>
              </p:ext>
            </p:extLst>
          </p:nvPr>
        </p:nvGraphicFramePr>
        <p:xfrm>
          <a:off x="535912" y="1141196"/>
          <a:ext cx="8100003" cy="902593"/>
        </p:xfrm>
        <a:graphic>
          <a:graphicData uri="http://schemas.openxmlformats.org/drawingml/2006/table">
            <a:tbl>
              <a:tblPr firstRow="1" bandRow="1">
                <a:tableStyleId>{5C22544A-7EE6-4342-B048-85BDC9FD1C3A}</a:tableStyleId>
              </a:tblPr>
              <a:tblGrid>
                <a:gridCol w="1225009">
                  <a:extLst>
                    <a:ext uri="{9D8B030D-6E8A-4147-A177-3AD203B41FA5}">
                      <a16:colId xmlns:a16="http://schemas.microsoft.com/office/drawing/2014/main" val="2097685003"/>
                    </a:ext>
                  </a:extLst>
                </a:gridCol>
                <a:gridCol w="982142">
                  <a:extLst>
                    <a:ext uri="{9D8B030D-6E8A-4147-A177-3AD203B41FA5}">
                      <a16:colId xmlns:a16="http://schemas.microsoft.com/office/drawing/2014/main" val="2089866971"/>
                    </a:ext>
                  </a:extLst>
                </a:gridCol>
                <a:gridCol w="982142">
                  <a:extLst>
                    <a:ext uri="{9D8B030D-6E8A-4147-A177-3AD203B41FA5}">
                      <a16:colId xmlns:a16="http://schemas.microsoft.com/office/drawing/2014/main" val="2851604717"/>
                    </a:ext>
                  </a:extLst>
                </a:gridCol>
                <a:gridCol w="982142">
                  <a:extLst>
                    <a:ext uri="{9D8B030D-6E8A-4147-A177-3AD203B41FA5}">
                      <a16:colId xmlns:a16="http://schemas.microsoft.com/office/drawing/2014/main" val="568711677"/>
                    </a:ext>
                  </a:extLst>
                </a:gridCol>
                <a:gridCol w="982142">
                  <a:extLst>
                    <a:ext uri="{9D8B030D-6E8A-4147-A177-3AD203B41FA5}">
                      <a16:colId xmlns:a16="http://schemas.microsoft.com/office/drawing/2014/main" val="3128690551"/>
                    </a:ext>
                  </a:extLst>
                </a:gridCol>
                <a:gridCol w="982142">
                  <a:extLst>
                    <a:ext uri="{9D8B030D-6E8A-4147-A177-3AD203B41FA5}">
                      <a16:colId xmlns:a16="http://schemas.microsoft.com/office/drawing/2014/main" val="2272065234"/>
                    </a:ext>
                  </a:extLst>
                </a:gridCol>
                <a:gridCol w="982142">
                  <a:extLst>
                    <a:ext uri="{9D8B030D-6E8A-4147-A177-3AD203B41FA5}">
                      <a16:colId xmlns:a16="http://schemas.microsoft.com/office/drawing/2014/main" val="1765880838"/>
                    </a:ext>
                  </a:extLst>
                </a:gridCol>
                <a:gridCol w="982142">
                  <a:extLst>
                    <a:ext uri="{9D8B030D-6E8A-4147-A177-3AD203B41FA5}">
                      <a16:colId xmlns:a16="http://schemas.microsoft.com/office/drawing/2014/main" val="2252399899"/>
                    </a:ext>
                  </a:extLst>
                </a:gridCol>
              </a:tblGrid>
              <a:tr h="352895">
                <a:tc>
                  <a:txBody>
                    <a:bodyPr/>
                    <a:lstStyle/>
                    <a:p>
                      <a:pPr algn="ctr"/>
                      <a:endParaRPr lang="en-US" sz="900" b="0" i="0">
                        <a:solidFill>
                          <a:schemeClr val="tx1"/>
                        </a:solidFill>
                        <a:latin typeface="Nexa Bold" pitchFamily="2" charset="77"/>
                      </a:endParaRPr>
                    </a:p>
                  </a:txBody>
                  <a:tcPr marL="68580" marR="68580" marT="13716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lang="en-US" sz="900" b="0" i="0" kern="1200">
                          <a:solidFill>
                            <a:schemeClr val="tx1"/>
                          </a:solidFill>
                          <a:latin typeface="Nexa Bold" pitchFamily="2" charset="77"/>
                          <a:ea typeface="+mn-ea"/>
                          <a:cs typeface="+mn-cs"/>
                        </a:rPr>
                        <a:t>Category</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Manufacturer</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noProof="0">
                          <a:solidFill>
                            <a:schemeClr val="tx1"/>
                          </a:solidFill>
                          <a:latin typeface="Nexa Bold" pitchFamily="2" charset="77"/>
                          <a:ea typeface="+mn-ea"/>
                          <a:cs typeface="+mn-cs"/>
                        </a:rPr>
                        <a:t>Pricing impact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noProof="0">
                          <a:solidFill>
                            <a:schemeClr val="tx1"/>
                          </a:solidFill>
                          <a:latin typeface="Nexa Bold" pitchFamily="2" charset="77"/>
                          <a:ea typeface="+mn-ea"/>
                          <a:cs typeface="+mn-cs"/>
                        </a:rPr>
                        <a:t>on growth</a:t>
                      </a:r>
                    </a:p>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US" sz="900" b="1" i="0" u="none" strike="noStrike" kern="1200" cap="none" spc="0" normalizeH="0" baseline="0" noProof="0">
                          <a:ln>
                            <a:noFill/>
                          </a:ln>
                          <a:solidFill>
                            <a:srgbClr val="006C6D"/>
                          </a:solidFill>
                          <a:effectLst/>
                          <a:uLnTx/>
                          <a:uFillTx/>
                          <a:latin typeface="Nexa Bold" pitchFamily="2" charset="77"/>
                          <a:ea typeface="+mn-ea"/>
                          <a:cs typeface="+mn-cs"/>
                        </a:rPr>
                        <a:t>-2pts</a:t>
                      </a:r>
                    </a:p>
                  </a:txBody>
                  <a:tcPr marL="68580" marR="68580" marT="137160" marB="34290" anchor="ctr">
                    <a:lnL w="19050" cap="flat" cmpd="sng" algn="ctr">
                      <a:solidFill>
                        <a:schemeClr val="bg1"/>
                      </a:solidFill>
                      <a:prstDash val="solid"/>
                      <a:round/>
                      <a:headEnd type="none" w="med" len="med"/>
                      <a:tailEnd type="none" w="med" len="med"/>
                    </a:lnL>
                    <a:lnR w="6350" cap="flat" cmpd="sng" algn="ctr">
                      <a:noFill/>
                      <a:prstDash val="sysDash"/>
                      <a:round/>
                      <a:headEnd type="none" w="med" len="med"/>
                      <a:tailEnd type="none" w="med" len="med"/>
                    </a:lnR>
                    <a:lnT w="12700" cap="flat" cmpd="sng" algn="ctr">
                      <a:solidFill>
                        <a:schemeClr val="bg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3114691536"/>
                  </a:ext>
                </a:extLst>
              </a:tr>
              <a:tr h="274849">
                <a:tc>
                  <a:txBody>
                    <a:bodyPr/>
                    <a:lstStyle/>
                    <a:p>
                      <a:r>
                        <a:rPr lang="en-US" sz="900" b="1" i="0" kern="1200">
                          <a:solidFill>
                            <a:schemeClr val="tx1"/>
                          </a:solidFill>
                          <a:latin typeface="Nexa Bold" pitchFamily="2" charset="77"/>
                          <a:ea typeface="+mn-ea"/>
                          <a:cs typeface="+mn-cs"/>
                        </a:rPr>
                        <a:t>Value Sales (Kr M)</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AE" sz="900" b="0" i="0" u="none" strike="noStrike" kern="1200">
                          <a:solidFill>
                            <a:srgbClr val="575555"/>
                          </a:solidFill>
                          <a:effectLst/>
                          <a:latin typeface="+mn-lt"/>
                          <a:ea typeface="+mn-ea"/>
                          <a:cs typeface="+mn-cs"/>
                        </a:rPr>
                        <a:t>2,212</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rtl="0" fontAlgn="ctr"/>
                      <a:r>
                        <a:rPr lang="en-US" sz="900" b="0" i="0" u="none" strike="noStrike" kern="1200" dirty="0">
                          <a:solidFill>
                            <a:srgbClr val="575555"/>
                          </a:solidFill>
                          <a:effectLst/>
                          <a:latin typeface="+mn-lt"/>
                          <a:ea typeface="+mn-ea"/>
                          <a:cs typeface="+mn-cs"/>
                        </a:rP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14.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4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rtl="0" fontAlgn="ctr"/>
                      <a:r>
                        <a:rPr lang="en-AE" sz="900" b="0" i="0" u="none" strike="noStrike" kern="1200">
                          <a:solidFill>
                            <a:srgbClr val="575555"/>
                          </a:solidFill>
                          <a:effectLst/>
                          <a:latin typeface="+mn-lt"/>
                          <a:ea typeface="+mn-ea"/>
                          <a:cs typeface="+mn-cs"/>
                        </a:rPr>
                        <a:t>99</a:t>
                      </a:r>
                      <a:endParaRPr lang="en-AE" sz="900" b="0" i="0" u="none" strike="noStrike" kern="1200" dirty="0">
                        <a:solidFill>
                          <a:srgbClr val="575555"/>
                        </a:solidFill>
                        <a:effectLst/>
                        <a:latin typeface="+mn-lt"/>
                        <a:ea typeface="+mn-ea"/>
                        <a:cs typeface="+mn-cs"/>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pPr algn="ctr" rtl="0" fontAlgn="ctr"/>
                      <a:endParaRPr sz="1000">
                        <a:solidFill>
                          <a:srgbClr val="575555"/>
                        </a:solidFill>
                        <a:latin typeface="Open Sans"/>
                      </a:endParaRPr>
                    </a:p>
                  </a:txBody>
                  <a:tcPr marL="9525" marR="9525" marT="9525" marB="0" anchor="ctr">
                    <a:lnL w="12700" cap="flat" cmpd="sng" algn="ctr">
                      <a:solidFill>
                        <a:schemeClr val="bg2">
                          <a:lumMod val="90000"/>
                        </a:schemeClr>
                      </a:solidFill>
                      <a:prstDash val="sysDot"/>
                      <a:round/>
                      <a:headEnd type="none" w="med" len="med"/>
                      <a:tailEnd type="none" w="med" len="med"/>
                    </a:lnL>
                    <a:lnR w="6350" cap="flat" cmpd="sng" algn="ctr">
                      <a:noFill/>
                      <a:prstDash val="sysDash"/>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164993059"/>
                  </a:ext>
                </a:extLst>
              </a:tr>
              <a:tr h="274849">
                <a:tc>
                  <a:txBody>
                    <a:bodyPr/>
                    <a:lstStyle/>
                    <a:p>
                      <a:r>
                        <a:rPr lang="en-US" sz="900" b="1" i="0" kern="1200">
                          <a:solidFill>
                            <a:schemeClr val="tx1"/>
                          </a:solidFill>
                          <a:latin typeface="Nexa Bold" pitchFamily="2" charset="77"/>
                          <a:ea typeface="+mn-ea"/>
                          <a:cs typeface="+mn-cs"/>
                        </a:rPr>
                        <a:t>Volume Sales (</a:t>
                      </a:r>
                      <a:r>
                        <a:rPr lang="en-US" sz="900" b="1" i="0" kern="1200" err="1">
                          <a:solidFill>
                            <a:schemeClr val="tx1"/>
                          </a:solidFill>
                          <a:latin typeface="Nexa Bold" pitchFamily="2" charset="77"/>
                          <a:ea typeface="+mn-ea"/>
                          <a:cs typeface="+mn-cs"/>
                        </a:rPr>
                        <a:t>kgM</a:t>
                      </a:r>
                      <a:r>
                        <a:rPr lang="en-US" sz="900" b="1" i="0" kern="1200">
                          <a:solidFill>
                            <a:schemeClr val="tx1"/>
                          </a:solidFill>
                          <a:latin typeface="Nexa Bold" pitchFamily="2" charset="77"/>
                          <a:ea typeface="+mn-ea"/>
                          <a:cs typeface="+mn-cs"/>
                        </a:rPr>
                        <a:t>)</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AE" sz="900" b="0" i="0" u="none" strike="noStrike" kern="1200">
                          <a:solidFill>
                            <a:srgbClr val="575555"/>
                          </a:solidFill>
                          <a:effectLst/>
                          <a:latin typeface="+mn-lt"/>
                          <a:ea typeface="+mn-ea"/>
                          <a:cs typeface="+mn-cs"/>
                        </a:rPr>
                        <a:t>98</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a:txBody>
                    <a:bodyPr/>
                    <a:lstStyle/>
                    <a:p>
                      <a:pPr algn="ctr" rtl="0" fontAlgn="ctr"/>
                      <a:r>
                        <a:rPr lang="en-US" sz="900" b="0" i="0" u="none" strike="noStrike" kern="1200">
                          <a:solidFill>
                            <a:srgbClr val="575555"/>
                          </a:solidFill>
                          <a:effectLst/>
                          <a:latin typeface="+mn-lt"/>
                          <a:ea typeface="+mn-ea"/>
                          <a:cs typeface="+mn-cs"/>
                        </a:rPr>
                        <a:t>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dirty="0">
                          <a:solidFill>
                            <a:srgbClr val="575555"/>
                          </a:solidFill>
                          <a:effectLst/>
                          <a:latin typeface="+mn-lt"/>
                          <a:ea typeface="+mn-ea"/>
                          <a:cs typeface="+mn-cs"/>
                        </a:rPr>
                        <a:t>4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vMerge="1">
                  <a:txBody>
                    <a:bodyPr/>
                    <a:lstStyle/>
                    <a:p>
                      <a:endParaRPr lang="en-AE"/>
                    </a:p>
                  </a:txBody>
                  <a:tcPr/>
                </a:tc>
                <a:extLst>
                  <a:ext uri="{0D108BD9-81ED-4DB2-BD59-A6C34878D82A}">
                    <a16:rowId xmlns:a16="http://schemas.microsoft.com/office/drawing/2014/main" val="2893178582"/>
                  </a:ext>
                </a:extLst>
              </a:tr>
            </a:tbl>
          </a:graphicData>
        </a:graphic>
      </p:graphicFrame>
      <p:sp>
        <p:nvSpPr>
          <p:cNvPr id="5" name="TextBox 4">
            <a:extLst>
              <a:ext uri="{FF2B5EF4-FFF2-40B4-BE49-F238E27FC236}">
                <a16:creationId xmlns:a16="http://schemas.microsoft.com/office/drawing/2014/main" id="{93727F24-80C6-F2CC-BBD9-D6E709998A9D}"/>
              </a:ext>
            </a:extLst>
          </p:cNvPr>
          <p:cNvSpPr txBox="1"/>
          <p:nvPr/>
        </p:nvSpPr>
        <p:spPr>
          <a:xfrm>
            <a:off x="535416" y="2162153"/>
            <a:ext cx="1408434" cy="23083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900">
                <a:solidFill>
                  <a:schemeClr val="tx2"/>
                </a:solidFill>
                <a:latin typeface="Nexa Bold" panose="00000800000000000000" pitchFamily="2" charset="0"/>
              </a:rPr>
              <a:t>Value Sales (Kr M)</a:t>
            </a:r>
          </a:p>
        </p:txBody>
      </p:sp>
      <p:sp>
        <p:nvSpPr>
          <p:cNvPr id="6" name="Date Placeholder 5">
            <a:extLst>
              <a:ext uri="{FF2B5EF4-FFF2-40B4-BE49-F238E27FC236}">
                <a16:creationId xmlns:a16="http://schemas.microsoft.com/office/drawing/2014/main" id="{C31EB4B8-16DF-97D7-87D6-FC88B54FE84A}"/>
              </a:ext>
            </a:extLst>
          </p:cNvPr>
          <p:cNvSpPr>
            <a:spLocks noGrp="1"/>
          </p:cNvSpPr>
          <p:nvPr>
            <p:ph type="dt" sz="half" idx="14"/>
          </p:nvPr>
        </p:nvSpPr>
        <p:spPr/>
        <p:txBody>
          <a:bodyPr/>
          <a:lstStyle/>
          <a:p>
            <a:fld id="{296FA869-BB72-4FBF-ABF8-21744C2215D9}" type="datetime1">
              <a:rPr lang="en-US" smtClean="0"/>
              <a:t>9/25/2025</a:t>
            </a:fld>
            <a:endParaRPr lang="en-US"/>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9/25/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21301424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8294">
                <a:tc>
                  <a:txBody>
                    <a:bodyPr/>
                    <a:lstStyle/>
                    <a:p>
                      <a:pPr algn="l" fontAlgn="b"/>
                      <a:r>
                        <a:rPr lang="en-US" sz="900">
                          <a:solidFill>
                            <a:srgbClr val="575555"/>
                          </a:solidFill>
                          <a:latin typeface="Nexa Bold"/>
                        </a:rP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449</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1</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2</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3</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4</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5</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6</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7</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8</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9</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Retailer | Total 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r>
                        <a:rPr lang="en-US" sz="800" b="1">
                          <a:solidFill>
                            <a:schemeClr val="tx2"/>
                          </a:solidFill>
                          <a:latin typeface="Nexa Bold" panose="00000800000000000000" pitchFamily="2" charset="0"/>
                        </a:rPr>
                        <a:t>Value Sales (M)</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9/25/2025</a:t>
            </a:fld>
            <a:endParaRPr lang="en-US"/>
          </a:p>
        </p:txBody>
      </p:sp>
    </p:spTree>
    <p:extLst>
      <p:ext uri="{BB962C8B-B14F-4D97-AF65-F5344CB8AC3E}">
        <p14:creationId xmlns:p14="http://schemas.microsoft.com/office/powerpoint/2010/main" val="40762213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9/25/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9131711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867763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639791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4"/>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1848016" y="1117689"/>
            <a:ext cx="1381891"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Heineken</a:t>
            </a:r>
            <a:r>
              <a:rPr lang="en-AE" sz="900" dirty="0">
                <a:solidFill>
                  <a:schemeClr val="tx1"/>
                </a:solidFill>
                <a:latin typeface="Nexa Bold" panose="00000800000000000000"/>
                <a:ea typeface="Nexa Bold" panose="00000800000000000000"/>
                <a:cs typeface="Nexa Bold" panose="00000800000000000000"/>
              </a:rPr>
              <a:t> </a:t>
            </a:r>
            <a:r>
              <a:rPr lang="en-AE" sz="1000" dirty="0">
                <a:solidFill>
                  <a:schemeClr val="tx1"/>
                </a:solidFill>
                <a:latin typeface="Nexa Bold" panose="00000800000000000000"/>
              </a:rPr>
              <a:t>Romania</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5899740" y="1117689"/>
            <a:ext cx="1716918"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Asahi / Ursus Breweries</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365803566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621149501"/>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xmlns="">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475300336"/>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xmlns="">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9/25/2025</a:t>
            </a:fld>
            <a:endParaRPr lang="en-US"/>
          </a:p>
        </p:txBody>
      </p:sp>
    </p:spTree>
    <p:extLst>
      <p:ext uri="{BB962C8B-B14F-4D97-AF65-F5344CB8AC3E}">
        <p14:creationId xmlns:p14="http://schemas.microsoft.com/office/powerpoint/2010/main" val="52337155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7F07DD49-E54E-2FE5-49F6-13CA541C9621}"/>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1967F31-8D07-2075-4153-C2E283F3432A}"/>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792CA894-B7A7-0B88-30CC-2B13078F63A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6F3A7BE-69C0-B127-0306-D3CA996E4412}"/>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a:t>
            </a:fld>
            <a:endParaRPr lang="en-US"/>
          </a:p>
        </p:txBody>
      </p:sp>
      <p:sp>
        <p:nvSpPr>
          <p:cNvPr id="32" name="Text Placeholder 31">
            <a:extLst>
              <a:ext uri="{FF2B5EF4-FFF2-40B4-BE49-F238E27FC236}">
                <a16:creationId xmlns:a16="http://schemas.microsoft.com/office/drawing/2014/main" id="{092B8120-20AB-63BB-0155-F9AA986963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A5D631A1-42A8-7A44-3D3C-47C2E67B21D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840AE69D-4895-55F3-7D42-48838D64BB1D}"/>
              </a:ext>
            </a:extLst>
          </p:cNvPr>
          <p:cNvSpPr>
            <a:spLocks noGrp="1"/>
          </p:cNvSpPr>
          <p:nvPr>
            <p:ph type="title"/>
          </p:nvPr>
        </p:nvSpPr>
        <p:spPr>
          <a:xfrm>
            <a:off x="504000" y="-1"/>
            <a:ext cx="8136000" cy="771525"/>
          </a:xfrm>
        </p:spPr>
        <p:txBody>
          <a:bodyPr vert="horz"/>
          <a:lstStyle/>
          <a:p>
            <a:r>
              <a:rPr lang="en-GB" dirty="0">
                <a:highlight>
                  <a:srgbClr val="FFFF00"/>
                </a:highlight>
              </a:rPr>
              <a:t>Sectors Value Sales &amp; </a:t>
            </a:r>
            <a:r>
              <a:rPr lang="en-GB" dirty="0" err="1">
                <a:highlight>
                  <a:srgbClr val="FFFF00"/>
                </a:highlight>
              </a:rPr>
              <a:t>Avg</a:t>
            </a:r>
            <a:r>
              <a:rPr lang="en-GB" dirty="0">
                <a:highlight>
                  <a:srgbClr val="FFFF00"/>
                </a:highlight>
              </a:rPr>
              <a:t> Price Per Kg</a:t>
            </a:r>
            <a:r>
              <a:rPr lang="fr-CH"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E45EC2B5-2010-CB55-4A26-02499A2D3F03}"/>
              </a:ext>
            </a:extLst>
          </p:cNvPr>
          <p:cNvGraphicFramePr/>
          <p:nvPr>
            <p:extLst>
              <p:ext uri="{D42A27DB-BD31-4B8C-83A1-F6EECF244321}">
                <p14:modId xmlns:p14="http://schemas.microsoft.com/office/powerpoint/2010/main" val="20649569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674A21D8-7D1C-2C61-4D54-761998AB509B}"/>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68CDDB70-8417-66BA-25CF-3507F819A7B8}"/>
              </a:ext>
            </a:extLst>
          </p:cNvPr>
          <p:cNvGraphicFramePr/>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65B1F8E6-75B7-4143-9382-48B4497F8FA7}"/>
              </a:ext>
            </a:extLst>
          </p:cNvPr>
          <p:cNvGraphicFramePr>
            <a:graphicFrameLocks noGrp="1"/>
          </p:cNvGraphicFramePr>
          <p:nvPr>
            <p:extLst>
              <p:ext uri="{D42A27DB-BD31-4B8C-83A1-F6EECF244321}">
                <p14:modId xmlns:p14="http://schemas.microsoft.com/office/powerpoint/2010/main" val="3530569116"/>
              </p:ext>
            </p:extLst>
          </p:nvPr>
        </p:nvGraphicFramePr>
        <p:xfrm>
          <a:off x="6056" y="3447197"/>
          <a:ext cx="8630654" cy="1035867"/>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37327">
                  <a:extLst>
                    <a:ext uri="{9D8B030D-6E8A-4147-A177-3AD203B41FA5}">
                      <a16:colId xmlns:a16="http://schemas.microsoft.com/office/drawing/2014/main" val="2253286919"/>
                    </a:ext>
                  </a:extLst>
                </a:gridCol>
                <a:gridCol w="337327">
                  <a:extLst>
                    <a:ext uri="{9D8B030D-6E8A-4147-A177-3AD203B41FA5}">
                      <a16:colId xmlns:a16="http://schemas.microsoft.com/office/drawing/2014/main" val="154020430"/>
                    </a:ext>
                  </a:extLst>
                </a:gridCol>
                <a:gridCol w="337327">
                  <a:extLst>
                    <a:ext uri="{9D8B030D-6E8A-4147-A177-3AD203B41FA5}">
                      <a16:colId xmlns:a16="http://schemas.microsoft.com/office/drawing/2014/main" val="3928813835"/>
                    </a:ext>
                  </a:extLst>
                </a:gridCol>
                <a:gridCol w="337327">
                  <a:extLst>
                    <a:ext uri="{9D8B030D-6E8A-4147-A177-3AD203B41FA5}">
                      <a16:colId xmlns:a16="http://schemas.microsoft.com/office/drawing/2014/main" val="3374165474"/>
                    </a:ext>
                  </a:extLst>
                </a:gridCol>
                <a:gridCol w="337327">
                  <a:extLst>
                    <a:ext uri="{9D8B030D-6E8A-4147-A177-3AD203B41FA5}">
                      <a16:colId xmlns:a16="http://schemas.microsoft.com/office/drawing/2014/main" val="99928969"/>
                    </a:ext>
                  </a:extLst>
                </a:gridCol>
                <a:gridCol w="337327">
                  <a:extLst>
                    <a:ext uri="{9D8B030D-6E8A-4147-A177-3AD203B41FA5}">
                      <a16:colId xmlns:a16="http://schemas.microsoft.com/office/drawing/2014/main" val="127408809"/>
                    </a:ext>
                  </a:extLst>
                </a:gridCol>
                <a:gridCol w="337327">
                  <a:extLst>
                    <a:ext uri="{9D8B030D-6E8A-4147-A177-3AD203B41FA5}">
                      <a16:colId xmlns:a16="http://schemas.microsoft.com/office/drawing/2014/main" val="3994312964"/>
                    </a:ext>
                  </a:extLst>
                </a:gridCol>
                <a:gridCol w="337327">
                  <a:extLst>
                    <a:ext uri="{9D8B030D-6E8A-4147-A177-3AD203B41FA5}">
                      <a16:colId xmlns:a16="http://schemas.microsoft.com/office/drawing/2014/main" val="384709931"/>
                    </a:ext>
                  </a:extLst>
                </a:gridCol>
                <a:gridCol w="337327">
                  <a:extLst>
                    <a:ext uri="{9D8B030D-6E8A-4147-A177-3AD203B41FA5}">
                      <a16:colId xmlns:a16="http://schemas.microsoft.com/office/drawing/2014/main" val="217012177"/>
                    </a:ext>
                  </a:extLst>
                </a:gridCol>
                <a:gridCol w="337327">
                  <a:extLst>
                    <a:ext uri="{9D8B030D-6E8A-4147-A177-3AD203B41FA5}">
                      <a16:colId xmlns:a16="http://schemas.microsoft.com/office/drawing/2014/main" val="2084146792"/>
                    </a:ext>
                  </a:extLst>
                </a:gridCol>
                <a:gridCol w="337327">
                  <a:extLst>
                    <a:ext uri="{9D8B030D-6E8A-4147-A177-3AD203B41FA5}">
                      <a16:colId xmlns:a16="http://schemas.microsoft.com/office/drawing/2014/main" val="586326706"/>
                    </a:ext>
                  </a:extLst>
                </a:gridCol>
                <a:gridCol w="337327">
                  <a:extLst>
                    <a:ext uri="{9D8B030D-6E8A-4147-A177-3AD203B41FA5}">
                      <a16:colId xmlns:a16="http://schemas.microsoft.com/office/drawing/2014/main" val="786404783"/>
                    </a:ext>
                  </a:extLst>
                </a:gridCol>
                <a:gridCol w="337327">
                  <a:extLst>
                    <a:ext uri="{9D8B030D-6E8A-4147-A177-3AD203B41FA5}">
                      <a16:colId xmlns:a16="http://schemas.microsoft.com/office/drawing/2014/main" val="2712606379"/>
                    </a:ext>
                  </a:extLst>
                </a:gridCol>
                <a:gridCol w="337327">
                  <a:extLst>
                    <a:ext uri="{9D8B030D-6E8A-4147-A177-3AD203B41FA5}">
                      <a16:colId xmlns:a16="http://schemas.microsoft.com/office/drawing/2014/main" val="2334528175"/>
                    </a:ext>
                  </a:extLst>
                </a:gridCol>
                <a:gridCol w="337327">
                  <a:extLst>
                    <a:ext uri="{9D8B030D-6E8A-4147-A177-3AD203B41FA5}">
                      <a16:colId xmlns:a16="http://schemas.microsoft.com/office/drawing/2014/main" val="3835393650"/>
                    </a:ext>
                  </a:extLst>
                </a:gridCol>
                <a:gridCol w="337327">
                  <a:extLst>
                    <a:ext uri="{9D8B030D-6E8A-4147-A177-3AD203B41FA5}">
                      <a16:colId xmlns:a16="http://schemas.microsoft.com/office/drawing/2014/main" val="3705822644"/>
                    </a:ext>
                  </a:extLst>
                </a:gridCol>
                <a:gridCol w="337327">
                  <a:extLst>
                    <a:ext uri="{9D8B030D-6E8A-4147-A177-3AD203B41FA5}">
                      <a16:colId xmlns:a16="http://schemas.microsoft.com/office/drawing/2014/main" val="184560546"/>
                    </a:ext>
                  </a:extLst>
                </a:gridCol>
                <a:gridCol w="337327">
                  <a:extLst>
                    <a:ext uri="{9D8B030D-6E8A-4147-A177-3AD203B41FA5}">
                      <a16:colId xmlns:a16="http://schemas.microsoft.com/office/drawing/2014/main" val="712457864"/>
                    </a:ext>
                  </a:extLst>
                </a:gridCol>
                <a:gridCol w="337327">
                  <a:extLst>
                    <a:ext uri="{9D8B030D-6E8A-4147-A177-3AD203B41FA5}">
                      <a16:colId xmlns:a16="http://schemas.microsoft.com/office/drawing/2014/main" val="2719112317"/>
                    </a:ext>
                  </a:extLst>
                </a:gridCol>
                <a:gridCol w="337327">
                  <a:extLst>
                    <a:ext uri="{9D8B030D-6E8A-4147-A177-3AD203B41FA5}">
                      <a16:colId xmlns:a16="http://schemas.microsoft.com/office/drawing/2014/main" val="1610204172"/>
                    </a:ext>
                  </a:extLst>
                </a:gridCol>
                <a:gridCol w="337327">
                  <a:extLst>
                    <a:ext uri="{9D8B030D-6E8A-4147-A177-3AD203B41FA5}">
                      <a16:colId xmlns:a16="http://schemas.microsoft.com/office/drawing/2014/main" val="4106856681"/>
                    </a:ext>
                  </a:extLst>
                </a:gridCol>
                <a:gridCol w="337327">
                  <a:extLst>
                    <a:ext uri="{9D8B030D-6E8A-4147-A177-3AD203B41FA5}">
                      <a16:colId xmlns:a16="http://schemas.microsoft.com/office/drawing/2014/main" val="4292680004"/>
                    </a:ext>
                  </a:extLst>
                </a:gridCol>
              </a:tblGrid>
              <a:tr h="267956">
                <a:tc>
                  <a:txBody>
                    <a:bodyPr/>
                    <a:lstStyle/>
                    <a:p>
                      <a:r>
                        <a:rPr lang="en-US" sz="700" b="1" i="0" dirty="0">
                          <a:solidFill>
                            <a:schemeClr val="bg1"/>
                          </a:solidFill>
                          <a:latin typeface="+mj-lt"/>
                        </a:rPr>
                        <a:t>Sector </a:t>
                      </a:r>
                      <a:r>
                        <a:rPr lang="en-US" sz="700" b="1" i="0" dirty="0" err="1">
                          <a:solidFill>
                            <a:schemeClr val="bg1"/>
                          </a:solidFill>
                          <a:latin typeface="+mn-lt"/>
                        </a:rPr>
                        <a:t>WoB</a:t>
                      </a:r>
                      <a:endParaRPr lang="en-CH" sz="700" b="1" i="0" dirty="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dirty="0">
                          <a:solidFill>
                            <a:srgbClr val="575555"/>
                          </a:solidFill>
                          <a:latin typeface="+mn-lt"/>
                        </a:rPr>
                        <a:t>11%</a:t>
                      </a:r>
                      <a:endParaRPr lang="en-US" sz="700" b="0" dirty="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dirty="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251309">
                <a:tc>
                  <a:txBody>
                    <a:bodyPr/>
                    <a:lstStyle/>
                    <a:p>
                      <a:r>
                        <a:rPr lang="en-US" sz="700" b="1" i="0" kern="1200" dirty="0">
                          <a:solidFill>
                            <a:schemeClr val="bg1"/>
                          </a:solidFill>
                          <a:latin typeface="+mn-lt"/>
                          <a:ea typeface="+mn-ea"/>
                          <a:cs typeface="+mn-cs"/>
                        </a:rPr>
                        <a:t>Sector</a:t>
                      </a:r>
                      <a:r>
                        <a:rPr lang="en-US" sz="700" b="1" i="0" dirty="0">
                          <a:solidFill>
                            <a:schemeClr val="bg1"/>
                          </a:solidFill>
                          <a:latin typeface="+mn-lt"/>
                        </a:rPr>
                        <a:t> Avg Price Index</a:t>
                      </a:r>
                      <a:endParaRPr lang="en-CH" sz="700" b="1" i="0" dirty="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251309">
                <a:tc>
                  <a:txBody>
                    <a:bodyPr/>
                    <a:lstStyle/>
                    <a:p>
                      <a:r>
                        <a:rPr lang="en-US" sz="700" b="1" i="0" dirty="0" err="1">
                          <a:solidFill>
                            <a:schemeClr val="bg1"/>
                          </a:solidFill>
                          <a:latin typeface="+mn-lt"/>
                        </a:rPr>
                        <a:t>Hersheys`s</a:t>
                      </a:r>
                      <a:r>
                        <a:rPr lang="en-US" sz="700" b="1" i="0" dirty="0">
                          <a:solidFill>
                            <a:schemeClr val="bg1"/>
                          </a:solidFill>
                          <a:latin typeface="+mn-lt"/>
                        </a:rPr>
                        <a:t> Share</a:t>
                      </a:r>
                      <a:endParaRPr lang="en-CH" sz="700" b="1" i="0" dirty="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51309">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dirty="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dirty="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1567D103-6BAE-2306-854E-88204A162B24}"/>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97B680B1-BEB6-CD52-71F9-7F3E2D3992D9}"/>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8366801C-FC09-91D4-B81C-1F9CFC0FE1C7}"/>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E2BF0649-C66C-4385-193F-2D387E2FCDBF}"/>
              </a:ext>
            </a:extLst>
          </p:cNvPr>
          <p:cNvSpPr>
            <a:spLocks noGrp="1"/>
          </p:cNvSpPr>
          <p:nvPr>
            <p:ph type="dt" sz="half" idx="14"/>
          </p:nvPr>
        </p:nvSpPr>
        <p:spPr/>
        <p:txBody>
          <a:bodyPr/>
          <a:lstStyle/>
          <a:p>
            <a:fld id="{E4271E2B-5453-484C-802B-3FA9DD26E3E6}" type="datetime1">
              <a:rPr lang="en-US" smtClean="0"/>
              <a:t>9/25/2025</a:t>
            </a:fld>
            <a:endParaRPr lang="en-US"/>
          </a:p>
        </p:txBody>
      </p:sp>
    </p:spTree>
    <p:extLst>
      <p:ext uri="{BB962C8B-B14F-4D97-AF65-F5344CB8AC3E}">
        <p14:creationId xmlns:p14="http://schemas.microsoft.com/office/powerpoint/2010/main" val="110018278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25/2025</a:t>
            </a:fld>
            <a:endParaRPr lang="en-US"/>
          </a:p>
        </p:txBody>
      </p:sp>
    </p:spTree>
    <p:extLst>
      <p:ext uri="{BB962C8B-B14F-4D97-AF65-F5344CB8AC3E}">
        <p14:creationId xmlns:p14="http://schemas.microsoft.com/office/powerpoint/2010/main" val="10608837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rPr lang="en-US"/>
              <a:t>  DATA SOURCE: Trade Panel/Retailer Data | Ending Dec 2022 </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rPr lang="en-US"/>
              <a:t>Market growth contributors | By Sectors | Confectionary | National | P12M | Index vs YA Value Sales DYA: 3</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dirty="0">
                <a:highlight>
                  <a:srgbClr val="FFFF00"/>
                </a:highlight>
              </a:rPr>
              <a:t>Market growth contributors</a:t>
            </a:r>
            <a:r>
              <a:rPr lang="fr-CH" dirty="0">
                <a:highlight>
                  <a:srgbClr val="FFFF00"/>
                </a:highlight>
              </a:rPr>
              <a:t> </a:t>
            </a:r>
            <a:r>
              <a:rPr lang="en-US" dirty="0">
                <a:solidFill>
                  <a:schemeClr val="bg2">
                    <a:lumMod val="90000"/>
                  </a:schemeClr>
                </a:solidFill>
                <a:highlight>
                  <a:srgbClr val="FFFF00"/>
                </a:highlight>
              </a:rPr>
              <a:t>(Replace with So What)</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extLst>
              <p:ext uri="{D42A27DB-BD31-4B8C-83A1-F6EECF244321}">
                <p14:modId xmlns:p14="http://schemas.microsoft.com/office/powerpoint/2010/main" val="2580911781"/>
              </p:ext>
            </p:extLst>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extLst>
              <p:ext uri="{D42A27DB-BD31-4B8C-83A1-F6EECF244321}">
                <p14:modId xmlns:p14="http://schemas.microsoft.com/office/powerpoint/2010/main" val="2535126489"/>
              </p:ext>
            </p:extLst>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rgbClr val="BCBB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dirty="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nvGraphicFramePr>
        <p:xfrm>
          <a:off x="3028" y="4097182"/>
          <a:ext cx="8336475" cy="626209"/>
        </p:xfrm>
        <a:graphic>
          <a:graphicData uri="http://schemas.openxmlformats.org/drawingml/2006/table">
            <a:tbl>
              <a:tblPr firstRow="1" bandRow="1">
                <a:tableStyleId>{5C22544A-7EE6-4342-B048-85BDC9FD1C3A}</a:tableStyleId>
              </a:tblPr>
              <a:tblGrid>
                <a:gridCol w="782280">
                  <a:extLst>
                    <a:ext uri="{9D8B030D-6E8A-4147-A177-3AD203B41FA5}">
                      <a16:colId xmlns:a16="http://schemas.microsoft.com/office/drawing/2014/main" val="3074704254"/>
                    </a:ext>
                  </a:extLst>
                </a:gridCol>
                <a:gridCol w="244895">
                  <a:extLst>
                    <a:ext uri="{9D8B030D-6E8A-4147-A177-3AD203B41FA5}">
                      <a16:colId xmlns:a16="http://schemas.microsoft.com/office/drawing/2014/main" val="996812328"/>
                    </a:ext>
                  </a:extLst>
                </a:gridCol>
                <a:gridCol w="292372">
                  <a:extLst>
                    <a:ext uri="{9D8B030D-6E8A-4147-A177-3AD203B41FA5}">
                      <a16:colId xmlns:a16="http://schemas.microsoft.com/office/drawing/2014/main" val="1946111412"/>
                    </a:ext>
                  </a:extLst>
                </a:gridCol>
                <a:gridCol w="292372">
                  <a:extLst>
                    <a:ext uri="{9D8B030D-6E8A-4147-A177-3AD203B41FA5}">
                      <a16:colId xmlns:a16="http://schemas.microsoft.com/office/drawing/2014/main" val="112675917"/>
                    </a:ext>
                  </a:extLst>
                </a:gridCol>
                <a:gridCol w="292372">
                  <a:extLst>
                    <a:ext uri="{9D8B030D-6E8A-4147-A177-3AD203B41FA5}">
                      <a16:colId xmlns:a16="http://schemas.microsoft.com/office/drawing/2014/main" val="2500398484"/>
                    </a:ext>
                  </a:extLst>
                </a:gridCol>
                <a:gridCol w="292372">
                  <a:extLst>
                    <a:ext uri="{9D8B030D-6E8A-4147-A177-3AD203B41FA5}">
                      <a16:colId xmlns:a16="http://schemas.microsoft.com/office/drawing/2014/main" val="1784810295"/>
                    </a:ext>
                  </a:extLst>
                </a:gridCol>
                <a:gridCol w="292372">
                  <a:extLst>
                    <a:ext uri="{9D8B030D-6E8A-4147-A177-3AD203B41FA5}">
                      <a16:colId xmlns:a16="http://schemas.microsoft.com/office/drawing/2014/main" val="390726217"/>
                    </a:ext>
                  </a:extLst>
                </a:gridCol>
                <a:gridCol w="292372">
                  <a:extLst>
                    <a:ext uri="{9D8B030D-6E8A-4147-A177-3AD203B41FA5}">
                      <a16:colId xmlns:a16="http://schemas.microsoft.com/office/drawing/2014/main" val="2887148896"/>
                    </a:ext>
                  </a:extLst>
                </a:gridCol>
                <a:gridCol w="292372">
                  <a:extLst>
                    <a:ext uri="{9D8B030D-6E8A-4147-A177-3AD203B41FA5}">
                      <a16:colId xmlns:a16="http://schemas.microsoft.com/office/drawing/2014/main" val="2333632229"/>
                    </a:ext>
                  </a:extLst>
                </a:gridCol>
                <a:gridCol w="292372">
                  <a:extLst>
                    <a:ext uri="{9D8B030D-6E8A-4147-A177-3AD203B41FA5}">
                      <a16:colId xmlns:a16="http://schemas.microsoft.com/office/drawing/2014/main" val="3898784021"/>
                    </a:ext>
                  </a:extLst>
                </a:gridCol>
                <a:gridCol w="292372">
                  <a:extLst>
                    <a:ext uri="{9D8B030D-6E8A-4147-A177-3AD203B41FA5}">
                      <a16:colId xmlns:a16="http://schemas.microsoft.com/office/drawing/2014/main" val="1283437722"/>
                    </a:ext>
                  </a:extLst>
                </a:gridCol>
                <a:gridCol w="292372">
                  <a:extLst>
                    <a:ext uri="{9D8B030D-6E8A-4147-A177-3AD203B41FA5}">
                      <a16:colId xmlns:a16="http://schemas.microsoft.com/office/drawing/2014/main" val="2791728976"/>
                    </a:ext>
                  </a:extLst>
                </a:gridCol>
                <a:gridCol w="292372">
                  <a:extLst>
                    <a:ext uri="{9D8B030D-6E8A-4147-A177-3AD203B41FA5}">
                      <a16:colId xmlns:a16="http://schemas.microsoft.com/office/drawing/2014/main" val="4190121725"/>
                    </a:ext>
                  </a:extLst>
                </a:gridCol>
                <a:gridCol w="292372">
                  <a:extLst>
                    <a:ext uri="{9D8B030D-6E8A-4147-A177-3AD203B41FA5}">
                      <a16:colId xmlns:a16="http://schemas.microsoft.com/office/drawing/2014/main" val="1670108932"/>
                    </a:ext>
                  </a:extLst>
                </a:gridCol>
                <a:gridCol w="292372">
                  <a:extLst>
                    <a:ext uri="{9D8B030D-6E8A-4147-A177-3AD203B41FA5}">
                      <a16:colId xmlns:a16="http://schemas.microsoft.com/office/drawing/2014/main" val="1859318056"/>
                    </a:ext>
                  </a:extLst>
                </a:gridCol>
                <a:gridCol w="292372">
                  <a:extLst>
                    <a:ext uri="{9D8B030D-6E8A-4147-A177-3AD203B41FA5}">
                      <a16:colId xmlns:a16="http://schemas.microsoft.com/office/drawing/2014/main" val="749829463"/>
                    </a:ext>
                  </a:extLst>
                </a:gridCol>
                <a:gridCol w="292372">
                  <a:extLst>
                    <a:ext uri="{9D8B030D-6E8A-4147-A177-3AD203B41FA5}">
                      <a16:colId xmlns:a16="http://schemas.microsoft.com/office/drawing/2014/main" val="3488436875"/>
                    </a:ext>
                  </a:extLst>
                </a:gridCol>
                <a:gridCol w="292372">
                  <a:extLst>
                    <a:ext uri="{9D8B030D-6E8A-4147-A177-3AD203B41FA5}">
                      <a16:colId xmlns:a16="http://schemas.microsoft.com/office/drawing/2014/main" val="3326785547"/>
                    </a:ext>
                  </a:extLst>
                </a:gridCol>
                <a:gridCol w="292372">
                  <a:extLst>
                    <a:ext uri="{9D8B030D-6E8A-4147-A177-3AD203B41FA5}">
                      <a16:colId xmlns:a16="http://schemas.microsoft.com/office/drawing/2014/main" val="1152302449"/>
                    </a:ext>
                  </a:extLst>
                </a:gridCol>
                <a:gridCol w="292372">
                  <a:extLst>
                    <a:ext uri="{9D8B030D-6E8A-4147-A177-3AD203B41FA5}">
                      <a16:colId xmlns:a16="http://schemas.microsoft.com/office/drawing/2014/main" val="1895026622"/>
                    </a:ext>
                  </a:extLst>
                </a:gridCol>
                <a:gridCol w="292372">
                  <a:extLst>
                    <a:ext uri="{9D8B030D-6E8A-4147-A177-3AD203B41FA5}">
                      <a16:colId xmlns:a16="http://schemas.microsoft.com/office/drawing/2014/main" val="3900997811"/>
                    </a:ext>
                  </a:extLst>
                </a:gridCol>
                <a:gridCol w="292372">
                  <a:extLst>
                    <a:ext uri="{9D8B030D-6E8A-4147-A177-3AD203B41FA5}">
                      <a16:colId xmlns:a16="http://schemas.microsoft.com/office/drawing/2014/main" val="437211358"/>
                    </a:ext>
                  </a:extLst>
                </a:gridCol>
                <a:gridCol w="292372">
                  <a:extLst>
                    <a:ext uri="{9D8B030D-6E8A-4147-A177-3AD203B41FA5}">
                      <a16:colId xmlns:a16="http://schemas.microsoft.com/office/drawing/2014/main" val="1680461699"/>
                    </a:ext>
                  </a:extLst>
                </a:gridCol>
                <a:gridCol w="292372">
                  <a:extLst>
                    <a:ext uri="{9D8B030D-6E8A-4147-A177-3AD203B41FA5}">
                      <a16:colId xmlns:a16="http://schemas.microsoft.com/office/drawing/2014/main" val="3689230006"/>
                    </a:ext>
                  </a:extLst>
                </a:gridCol>
                <a:gridCol w="292372">
                  <a:extLst>
                    <a:ext uri="{9D8B030D-6E8A-4147-A177-3AD203B41FA5}">
                      <a16:colId xmlns:a16="http://schemas.microsoft.com/office/drawing/2014/main" val="3754620826"/>
                    </a:ext>
                  </a:extLst>
                </a:gridCol>
                <a:gridCol w="292372">
                  <a:extLst>
                    <a:ext uri="{9D8B030D-6E8A-4147-A177-3AD203B41FA5}">
                      <a16:colId xmlns:a16="http://schemas.microsoft.com/office/drawing/2014/main" val="1271118741"/>
                    </a:ext>
                  </a:extLst>
                </a:gridCol>
                <a:gridCol w="292372">
                  <a:extLst>
                    <a:ext uri="{9D8B030D-6E8A-4147-A177-3AD203B41FA5}">
                      <a16:colId xmlns:a16="http://schemas.microsoft.com/office/drawing/2014/main" val="1432678170"/>
                    </a:ext>
                  </a:extLst>
                </a:gridCol>
              </a:tblGrid>
              <a:tr h="402150">
                <a:tc>
                  <a:txBody>
                    <a:bodyPr/>
                    <a:lstStyle/>
                    <a:p>
                      <a:pPr algn="ctr" fontAlgn="b">
                        <a:defRPr sz="1000">
                          <a:latin typeface="Nexa Bold"/>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62.7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56.6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04.3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339.9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249.0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dirty="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1000">
                          <a:latin typeface="Nexa Bold"/>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1000">
                          <a:solidFill>
                            <a:srgbClr val="575555"/>
                          </a:solidFill>
                          <a:latin typeface="Nexa Bold"/>
                        </a:defRPr>
                      </a:pPr>
                      <a:r>
                        <a:rPr sz="700" b="0">
                          <a:latin typeface="+mn-lt"/>
                        </a:rP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FF8080"/>
                          </a:solidFill>
                          <a:latin typeface="Nexa Bold"/>
                        </a:defRPr>
                      </a:pPr>
                      <a:r>
                        <a:rPr sz="700" b="0">
                          <a:latin typeface="+mn-lt"/>
                        </a:rPr>
                        <a:t>9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r>
                        <a:rPr sz="700" b="0">
                          <a:latin typeface="+mn-lt"/>
                        </a:rPr>
                        <a:t>11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dirty="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9/25/2025</a:t>
            </a:fld>
            <a:endParaRPr lang="en-US"/>
          </a:p>
        </p:txBody>
      </p:sp>
    </p:spTree>
    <p:extLst>
      <p:ext uri="{BB962C8B-B14F-4D97-AF65-F5344CB8AC3E}">
        <p14:creationId xmlns:p14="http://schemas.microsoft.com/office/powerpoint/2010/main" val="396235073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dirty="0">
                <a:highlight>
                  <a:srgbClr val="FFFF00"/>
                </a:highlight>
              </a:rPr>
              <a:t>Sectors Value Sales &amp; </a:t>
            </a:r>
            <a:r>
              <a:rPr lang="en-GB" dirty="0" err="1">
                <a:highlight>
                  <a:srgbClr val="FFFF00"/>
                </a:highlight>
              </a:rPr>
              <a:t>Avg</a:t>
            </a:r>
            <a:r>
              <a:rPr lang="en-GB" dirty="0">
                <a:highlight>
                  <a:srgbClr val="FFFF00"/>
                </a:highlight>
              </a:rPr>
              <a:t> Price Per Kg</a:t>
            </a:r>
            <a:r>
              <a:rPr lang="fr-CH"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3069674565"/>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0654" cy="1287176"/>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37327">
                  <a:extLst>
                    <a:ext uri="{9D8B030D-6E8A-4147-A177-3AD203B41FA5}">
                      <a16:colId xmlns:a16="http://schemas.microsoft.com/office/drawing/2014/main" val="2253286919"/>
                    </a:ext>
                  </a:extLst>
                </a:gridCol>
                <a:gridCol w="337327">
                  <a:extLst>
                    <a:ext uri="{9D8B030D-6E8A-4147-A177-3AD203B41FA5}">
                      <a16:colId xmlns:a16="http://schemas.microsoft.com/office/drawing/2014/main" val="154020430"/>
                    </a:ext>
                  </a:extLst>
                </a:gridCol>
                <a:gridCol w="337327">
                  <a:extLst>
                    <a:ext uri="{9D8B030D-6E8A-4147-A177-3AD203B41FA5}">
                      <a16:colId xmlns:a16="http://schemas.microsoft.com/office/drawing/2014/main" val="3928813835"/>
                    </a:ext>
                  </a:extLst>
                </a:gridCol>
                <a:gridCol w="337327">
                  <a:extLst>
                    <a:ext uri="{9D8B030D-6E8A-4147-A177-3AD203B41FA5}">
                      <a16:colId xmlns:a16="http://schemas.microsoft.com/office/drawing/2014/main" val="3374165474"/>
                    </a:ext>
                  </a:extLst>
                </a:gridCol>
                <a:gridCol w="337327">
                  <a:extLst>
                    <a:ext uri="{9D8B030D-6E8A-4147-A177-3AD203B41FA5}">
                      <a16:colId xmlns:a16="http://schemas.microsoft.com/office/drawing/2014/main" val="99928969"/>
                    </a:ext>
                  </a:extLst>
                </a:gridCol>
                <a:gridCol w="337327">
                  <a:extLst>
                    <a:ext uri="{9D8B030D-6E8A-4147-A177-3AD203B41FA5}">
                      <a16:colId xmlns:a16="http://schemas.microsoft.com/office/drawing/2014/main" val="127408809"/>
                    </a:ext>
                  </a:extLst>
                </a:gridCol>
                <a:gridCol w="337327">
                  <a:extLst>
                    <a:ext uri="{9D8B030D-6E8A-4147-A177-3AD203B41FA5}">
                      <a16:colId xmlns:a16="http://schemas.microsoft.com/office/drawing/2014/main" val="3994312964"/>
                    </a:ext>
                  </a:extLst>
                </a:gridCol>
                <a:gridCol w="337327">
                  <a:extLst>
                    <a:ext uri="{9D8B030D-6E8A-4147-A177-3AD203B41FA5}">
                      <a16:colId xmlns:a16="http://schemas.microsoft.com/office/drawing/2014/main" val="384709931"/>
                    </a:ext>
                  </a:extLst>
                </a:gridCol>
                <a:gridCol w="337327">
                  <a:extLst>
                    <a:ext uri="{9D8B030D-6E8A-4147-A177-3AD203B41FA5}">
                      <a16:colId xmlns:a16="http://schemas.microsoft.com/office/drawing/2014/main" val="217012177"/>
                    </a:ext>
                  </a:extLst>
                </a:gridCol>
                <a:gridCol w="337327">
                  <a:extLst>
                    <a:ext uri="{9D8B030D-6E8A-4147-A177-3AD203B41FA5}">
                      <a16:colId xmlns:a16="http://schemas.microsoft.com/office/drawing/2014/main" val="2084146792"/>
                    </a:ext>
                  </a:extLst>
                </a:gridCol>
                <a:gridCol w="337327">
                  <a:extLst>
                    <a:ext uri="{9D8B030D-6E8A-4147-A177-3AD203B41FA5}">
                      <a16:colId xmlns:a16="http://schemas.microsoft.com/office/drawing/2014/main" val="586326706"/>
                    </a:ext>
                  </a:extLst>
                </a:gridCol>
                <a:gridCol w="337327">
                  <a:extLst>
                    <a:ext uri="{9D8B030D-6E8A-4147-A177-3AD203B41FA5}">
                      <a16:colId xmlns:a16="http://schemas.microsoft.com/office/drawing/2014/main" val="786404783"/>
                    </a:ext>
                  </a:extLst>
                </a:gridCol>
                <a:gridCol w="337327">
                  <a:extLst>
                    <a:ext uri="{9D8B030D-6E8A-4147-A177-3AD203B41FA5}">
                      <a16:colId xmlns:a16="http://schemas.microsoft.com/office/drawing/2014/main" val="2712606379"/>
                    </a:ext>
                  </a:extLst>
                </a:gridCol>
                <a:gridCol w="337327">
                  <a:extLst>
                    <a:ext uri="{9D8B030D-6E8A-4147-A177-3AD203B41FA5}">
                      <a16:colId xmlns:a16="http://schemas.microsoft.com/office/drawing/2014/main" val="2334528175"/>
                    </a:ext>
                  </a:extLst>
                </a:gridCol>
                <a:gridCol w="337327">
                  <a:extLst>
                    <a:ext uri="{9D8B030D-6E8A-4147-A177-3AD203B41FA5}">
                      <a16:colId xmlns:a16="http://schemas.microsoft.com/office/drawing/2014/main" val="3835393650"/>
                    </a:ext>
                  </a:extLst>
                </a:gridCol>
                <a:gridCol w="337327">
                  <a:extLst>
                    <a:ext uri="{9D8B030D-6E8A-4147-A177-3AD203B41FA5}">
                      <a16:colId xmlns:a16="http://schemas.microsoft.com/office/drawing/2014/main" val="3705822644"/>
                    </a:ext>
                  </a:extLst>
                </a:gridCol>
                <a:gridCol w="337327">
                  <a:extLst>
                    <a:ext uri="{9D8B030D-6E8A-4147-A177-3AD203B41FA5}">
                      <a16:colId xmlns:a16="http://schemas.microsoft.com/office/drawing/2014/main" val="184560546"/>
                    </a:ext>
                  </a:extLst>
                </a:gridCol>
                <a:gridCol w="337327">
                  <a:extLst>
                    <a:ext uri="{9D8B030D-6E8A-4147-A177-3AD203B41FA5}">
                      <a16:colId xmlns:a16="http://schemas.microsoft.com/office/drawing/2014/main" val="712457864"/>
                    </a:ext>
                  </a:extLst>
                </a:gridCol>
                <a:gridCol w="337327">
                  <a:extLst>
                    <a:ext uri="{9D8B030D-6E8A-4147-A177-3AD203B41FA5}">
                      <a16:colId xmlns:a16="http://schemas.microsoft.com/office/drawing/2014/main" val="2719112317"/>
                    </a:ext>
                  </a:extLst>
                </a:gridCol>
                <a:gridCol w="337327">
                  <a:extLst>
                    <a:ext uri="{9D8B030D-6E8A-4147-A177-3AD203B41FA5}">
                      <a16:colId xmlns:a16="http://schemas.microsoft.com/office/drawing/2014/main" val="1610204172"/>
                    </a:ext>
                  </a:extLst>
                </a:gridCol>
                <a:gridCol w="337327">
                  <a:extLst>
                    <a:ext uri="{9D8B030D-6E8A-4147-A177-3AD203B41FA5}">
                      <a16:colId xmlns:a16="http://schemas.microsoft.com/office/drawing/2014/main" val="4106856681"/>
                    </a:ext>
                  </a:extLst>
                </a:gridCol>
                <a:gridCol w="337327">
                  <a:extLst>
                    <a:ext uri="{9D8B030D-6E8A-4147-A177-3AD203B41FA5}">
                      <a16:colId xmlns:a16="http://schemas.microsoft.com/office/drawing/2014/main" val="4292680004"/>
                    </a:ext>
                  </a:extLst>
                </a:gridCol>
              </a:tblGrid>
              <a:tr h="251309">
                <a:tc>
                  <a:txBody>
                    <a:bodyPr/>
                    <a:lstStyle/>
                    <a:p>
                      <a:r>
                        <a:rPr lang="en-US" sz="700" b="1" i="0">
                          <a:solidFill>
                            <a:schemeClr val="bg1"/>
                          </a:solidFill>
                          <a:latin typeface="+mn-lt"/>
                        </a:rPr>
                        <a:t>Growth Contribution</a:t>
                      </a:r>
                      <a:endParaRPr lang="en-CH" sz="700" b="1" i="0" dirty="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endParaRPr lang="en-AE" sz="700" b="0" dirty="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a:endParaRPr lang="en-AE" sz="700" b="0" dirty="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a:endParaRPr lang="en-AE" sz="700" b="0" dirty="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a:endParaRPr lang="en-AE" sz="700" b="0" dirty="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a:endParaRPr lang="en-AE" sz="700" b="0" dirty="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a:endParaRPr lang="en-AE" sz="700" b="0" dirty="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19592128"/>
                  </a:ext>
                </a:extLst>
              </a:tr>
              <a:tr h="267956">
                <a:tc>
                  <a:txBody>
                    <a:bodyPr/>
                    <a:lstStyle/>
                    <a:p>
                      <a:r>
                        <a:rPr lang="en-US" sz="700" b="1" i="0" dirty="0">
                          <a:solidFill>
                            <a:schemeClr val="bg1"/>
                          </a:solidFill>
                          <a:latin typeface="+mj-lt"/>
                        </a:rPr>
                        <a:t>Sector </a:t>
                      </a:r>
                      <a:r>
                        <a:rPr lang="en-US" sz="700" b="1" i="0" dirty="0" err="1">
                          <a:solidFill>
                            <a:schemeClr val="bg1"/>
                          </a:solidFill>
                          <a:latin typeface="+mn-lt"/>
                        </a:rPr>
                        <a:t>WoB</a:t>
                      </a:r>
                      <a:endParaRPr lang="en-CH" sz="700" b="1" i="0" dirty="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dirty="0">
                          <a:solidFill>
                            <a:srgbClr val="575555"/>
                          </a:solidFill>
                          <a:latin typeface="Nexa Book"/>
                        </a:rPr>
                        <a:t>25%</a:t>
                      </a:r>
                      <a:endParaRPr lang="en-AE" sz="700" b="0" dirty="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dirty="0">
                          <a:solidFill>
                            <a:srgbClr val="575555"/>
                          </a:solidFill>
                          <a:latin typeface="Nexa Book"/>
                        </a:rPr>
                        <a:t>15%</a:t>
                      </a:r>
                      <a:endParaRPr lang="en-AE" sz="700" b="0" dirty="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dirty="0">
                          <a:solidFill>
                            <a:srgbClr val="575555"/>
                          </a:solidFill>
                          <a:latin typeface="Nexa Book"/>
                        </a:rPr>
                        <a:t>11%</a:t>
                      </a:r>
                      <a:endParaRPr lang="en-AE" sz="700" b="0" dirty="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dirty="0">
                          <a:solidFill>
                            <a:srgbClr val="575555"/>
                          </a:solidFill>
                          <a:latin typeface="+mn-lt"/>
                        </a:rPr>
                        <a:t>11%</a:t>
                      </a:r>
                      <a:endParaRPr lang="en-US" sz="700" b="0" dirty="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dirty="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251309">
                <a:tc>
                  <a:txBody>
                    <a:bodyPr/>
                    <a:lstStyle/>
                    <a:p>
                      <a:r>
                        <a:rPr lang="en-US" sz="700" b="1" i="0" kern="1200" dirty="0">
                          <a:solidFill>
                            <a:schemeClr val="bg1"/>
                          </a:solidFill>
                          <a:latin typeface="+mn-lt"/>
                          <a:ea typeface="+mn-ea"/>
                          <a:cs typeface="+mn-cs"/>
                        </a:rPr>
                        <a:t>Sector</a:t>
                      </a:r>
                      <a:r>
                        <a:rPr lang="en-US" sz="700" b="1" i="0" dirty="0">
                          <a:solidFill>
                            <a:schemeClr val="bg1"/>
                          </a:solidFill>
                          <a:latin typeface="+mn-lt"/>
                        </a:rPr>
                        <a:t> Avg Price Index</a:t>
                      </a:r>
                      <a:endParaRPr lang="en-CH" sz="700" b="1" i="0" dirty="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251309">
                <a:tc>
                  <a:txBody>
                    <a:bodyPr/>
                    <a:lstStyle/>
                    <a:p>
                      <a:r>
                        <a:rPr lang="en-US" sz="700" b="1" i="0" dirty="0" err="1">
                          <a:solidFill>
                            <a:schemeClr val="bg1"/>
                          </a:solidFill>
                          <a:latin typeface="+mn-lt"/>
                        </a:rPr>
                        <a:t>Hersheys`s</a:t>
                      </a:r>
                      <a:r>
                        <a:rPr lang="en-US" sz="700" b="1" i="0" dirty="0">
                          <a:solidFill>
                            <a:schemeClr val="bg1"/>
                          </a:solidFill>
                          <a:latin typeface="+mn-lt"/>
                        </a:rPr>
                        <a:t> </a:t>
                      </a:r>
                      <a:r>
                        <a:rPr lang="en-US" sz="700" b="1" i="0" kern="1200" dirty="0">
                          <a:solidFill>
                            <a:schemeClr val="bg1"/>
                          </a:solidFill>
                          <a:latin typeface="+mn-lt"/>
                          <a:ea typeface="+mn-ea"/>
                          <a:cs typeface="+mn-cs"/>
                        </a:rPr>
                        <a:t>Share</a:t>
                      </a:r>
                      <a:r>
                        <a:rPr lang="en-US" sz="700" b="1" i="0" dirty="0">
                          <a:solidFill>
                            <a:schemeClr val="bg1"/>
                          </a:solidFill>
                          <a:latin typeface="+mn-lt"/>
                        </a:rPr>
                        <a:t> | DYA</a:t>
                      </a:r>
                      <a:endParaRPr lang="en-CH" sz="700" b="1" i="0" dirty="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dirty="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51309">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dirty="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dirty="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9/25/2025</a:t>
            </a:fld>
            <a:endParaRPr lang="en-US"/>
          </a:p>
        </p:txBody>
      </p:sp>
    </p:spTree>
    <p:extLst>
      <p:ext uri="{BB962C8B-B14F-4D97-AF65-F5344CB8AC3E}">
        <p14:creationId xmlns:p14="http://schemas.microsoft.com/office/powerpoint/2010/main" val="28492504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9/25/2025</a:t>
            </a:fld>
            <a:endParaRPr lang="en-US"/>
          </a:p>
        </p:txBody>
      </p:sp>
    </p:spTree>
    <p:extLst>
      <p:ext uri="{BB962C8B-B14F-4D97-AF65-F5344CB8AC3E}">
        <p14:creationId xmlns:p14="http://schemas.microsoft.com/office/powerpoint/2010/main" val="25378775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0045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Share Bag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63915958"/>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9/25/2025</a:t>
            </a:fld>
            <a:endParaRPr lang="en-US"/>
          </a:p>
        </p:txBody>
      </p:sp>
    </p:spTree>
    <p:extLst>
      <p:ext uri="{BB962C8B-B14F-4D97-AF65-F5344CB8AC3E}">
        <p14:creationId xmlns:p14="http://schemas.microsoft.com/office/powerpoint/2010/main" val="23606744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Share Bag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Gifting</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9/25/2025</a:t>
            </a:fld>
            <a:endParaRPr lang="en-US"/>
          </a:p>
        </p:txBody>
      </p:sp>
    </p:spTree>
    <p:extLst>
      <p:ext uri="{BB962C8B-B14F-4D97-AF65-F5344CB8AC3E}">
        <p14:creationId xmlns:p14="http://schemas.microsoft.com/office/powerpoint/2010/main" val="286183739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9/25/2025</a:t>
            </a:fld>
            <a:endParaRPr lang="en-US"/>
          </a:p>
        </p:txBody>
      </p:sp>
    </p:spTree>
    <p:extLst>
      <p:ext uri="{BB962C8B-B14F-4D97-AF65-F5344CB8AC3E}">
        <p14:creationId xmlns:p14="http://schemas.microsoft.com/office/powerpoint/2010/main" val="4403844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9/25/2025</a:t>
            </a:fld>
            <a:endParaRPr lang="en-US"/>
          </a:p>
        </p:txBody>
      </p:sp>
    </p:spTree>
    <p:extLst>
      <p:ext uri="{BB962C8B-B14F-4D97-AF65-F5344CB8AC3E}">
        <p14:creationId xmlns:p14="http://schemas.microsoft.com/office/powerpoint/2010/main" val="5263804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8968EC3-DB7D-48CB-8134-A45BCEDA63A0}">
  <ds:schemaRefs>
    <ds:schemaRef ds:uri="0ad93b7f-b0cd-4c46-aaaf-ff14495948cf"/>
    <ds:schemaRef ds:uri="http://purl.org/dc/dcmitype/"/>
    <ds:schemaRef ds:uri="http://www.w3.org/XML/1998/namespace"/>
    <ds:schemaRef ds:uri="http://purl.org/dc/elements/1.1/"/>
    <ds:schemaRef ds:uri="474cf4e4-8a51-432b-9e1b-0ea607ac38ff"/>
    <ds:schemaRef ds:uri="http://schemas.microsoft.com/office/2006/documentManagement/types"/>
    <ds:schemaRef ds:uri="http://purl.org/dc/terms/"/>
    <ds:schemaRef ds:uri="http://schemas.microsoft.com/office/infopath/2007/PartnerControls"/>
    <ds:schemaRef ds:uri="http://schemas.openxmlformats.org/package/2006/metadata/core-properties"/>
    <ds:schemaRef ds:uri="http://schemas.microsoft.com/office/2006/metadata/properties"/>
  </ds:schemaRefs>
</ds:datastoreItem>
</file>

<file path=customXml/itemProps2.xml><?xml version="1.0" encoding="utf-8"?>
<ds:datastoreItem xmlns:ds="http://schemas.openxmlformats.org/officeDocument/2006/customXml" ds:itemID="{6CBFBEC4-2E96-4DCB-AEBB-C4FAEA748BD6}">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A463C387-91F7-4F23-8A04-9E635946853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40</TotalTime>
  <Words>1884</Words>
  <Application>Microsoft Office PowerPoint</Application>
  <PresentationFormat>On-screen Show (16:9)</PresentationFormat>
  <Paragraphs>689</Paragraphs>
  <Slides>17</Slides>
  <Notes>14</Notes>
  <HiddenSlides>2</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8" baseType="lpstr">
      <vt:lpstr>Aptos</vt:lpstr>
      <vt:lpstr>Arial</vt:lpstr>
      <vt:lpstr>Calibri</vt:lpstr>
      <vt:lpstr>Nexa</vt:lpstr>
      <vt:lpstr>Nexa Bold</vt:lpstr>
      <vt:lpstr>Nexa Book</vt:lpstr>
      <vt:lpstr>Nexa Book Italic</vt:lpstr>
      <vt:lpstr>Open Sans</vt:lpstr>
      <vt:lpstr>Raleway</vt:lpstr>
      <vt:lpstr>PricingOne Light Template Oct 2024</vt:lpstr>
      <vt:lpstr>think-cell Slide</vt:lpstr>
      <vt:lpstr>Sector Growth vs. Company Growth (Replace with So What)</vt:lpstr>
      <vt:lpstr>Sector Growth vs. Company Growth (Replace with So What)</vt:lpstr>
      <vt:lpstr>Market growth contributors (Replace with So What)</vt:lpstr>
      <vt:lpstr>Sectors Value Sales &amp; Avg Price Per Kg (Replace with So What)</vt:lpstr>
      <vt:lpstr>Share and Growth by Manufacturer/Brands (Replace with So What)</vt:lpstr>
      <vt:lpstr>Segment Leadership Analysis (Replace with So What)</vt:lpstr>
      <vt:lpstr>Segment Leadership Analysis (Replace with So What)</vt:lpstr>
      <vt:lpstr>Segment Leadership Analysis (Replace with So What)</vt:lpstr>
      <vt:lpstr>Category Trends (Replace with So What)</vt:lpstr>
      <vt:lpstr>Share Evolution index analysis (Replace with So What)</vt:lpstr>
      <vt:lpstr>Category Overview (Replace with So What)</vt:lpstr>
      <vt:lpstr>Category Evolution Analysis (Replace with So What)</vt:lpstr>
      <vt:lpstr>Share and Growth by Retailer/Channel (Replace with So What)</vt:lpstr>
      <vt:lpstr>Momentum Analysis (Replace with So What)</vt:lpstr>
      <vt:lpstr>Revenue by Price vs. Volume vs. Mix analysis (Replace with So What)</vt:lpstr>
      <vt:lpstr>Revenue by Price vs. Volume vs. Mix analysis (Replace with So What)</vt:lpstr>
      <vt:lpstr>Sectors Value Sales &amp; Avg Price Per Kg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ctor Growth vs. Company Growth (Replace with So What)</dc:title>
  <dc:creator>Bhagya RANASINGHE</dc:creator>
  <cp:lastModifiedBy>Salma ANANY</cp:lastModifiedBy>
  <cp:revision>42</cp:revision>
  <dcterms:created xsi:type="dcterms:W3CDTF">2024-07-05T07:54:38Z</dcterms:created>
  <dcterms:modified xsi:type="dcterms:W3CDTF">2025-09-25T13:13: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